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8" r:id="rId4"/>
  </p:sldMasterIdLst>
  <p:notesMasterIdLst>
    <p:notesMasterId r:id="rId37"/>
  </p:notesMasterIdLst>
  <p:sldIdLst>
    <p:sldId id="2076138690" r:id="rId5"/>
    <p:sldId id="2076138691" r:id="rId6"/>
    <p:sldId id="2076138688" r:id="rId7"/>
    <p:sldId id="2076138692" r:id="rId8"/>
    <p:sldId id="2076138693" r:id="rId9"/>
    <p:sldId id="2076138694" r:id="rId10"/>
    <p:sldId id="2076138695" r:id="rId11"/>
    <p:sldId id="2076138696" r:id="rId12"/>
    <p:sldId id="267" r:id="rId13"/>
    <p:sldId id="2076138707" r:id="rId14"/>
    <p:sldId id="2076138668" r:id="rId15"/>
    <p:sldId id="2076138705" r:id="rId16"/>
    <p:sldId id="2076138706" r:id="rId17"/>
    <p:sldId id="10870" r:id="rId18"/>
    <p:sldId id="2076138654" r:id="rId19"/>
    <p:sldId id="10873" r:id="rId20"/>
    <p:sldId id="2076138658" r:id="rId21"/>
    <p:sldId id="272" r:id="rId22"/>
    <p:sldId id="276" r:id="rId23"/>
    <p:sldId id="2076138663" r:id="rId24"/>
    <p:sldId id="2076138655" r:id="rId25"/>
    <p:sldId id="10604" r:id="rId26"/>
    <p:sldId id="10605" r:id="rId27"/>
    <p:sldId id="10606" r:id="rId28"/>
    <p:sldId id="2076138662" r:id="rId29"/>
    <p:sldId id="2076138645" r:id="rId30"/>
    <p:sldId id="10611" r:id="rId31"/>
    <p:sldId id="10612" r:id="rId32"/>
    <p:sldId id="10613" r:id="rId33"/>
    <p:sldId id="2076138703" r:id="rId34"/>
    <p:sldId id="2076138665" r:id="rId35"/>
    <p:sldId id="2076138676" r:id="rId36"/>
  </p:sldIdLst>
  <p:sldSz cx="12436475" cy="6994525"/>
  <p:notesSz cx="6858000" cy="2181225"/>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934640-C24F-4545-BB50-110C0991F3BE}">
          <p14:sldIdLst>
            <p14:sldId id="2076138690"/>
            <p14:sldId id="2076138691"/>
            <p14:sldId id="2076138688"/>
            <p14:sldId id="2076138692"/>
            <p14:sldId id="2076138693"/>
            <p14:sldId id="2076138694"/>
            <p14:sldId id="2076138695"/>
            <p14:sldId id="2076138696"/>
            <p14:sldId id="267"/>
            <p14:sldId id="2076138707"/>
          </p14:sldIdLst>
        </p14:section>
        <p14:section name="Appendix" id="{E7FDDBD1-5CD7-4F64-B6B2-0D26AD4359E4}">
          <p14:sldIdLst>
            <p14:sldId id="2076138668"/>
            <p14:sldId id="2076138705"/>
            <p14:sldId id="2076138706"/>
            <p14:sldId id="10870"/>
            <p14:sldId id="2076138654"/>
            <p14:sldId id="10873"/>
            <p14:sldId id="2076138658"/>
            <p14:sldId id="272"/>
            <p14:sldId id="276"/>
            <p14:sldId id="2076138663"/>
            <p14:sldId id="2076138655"/>
            <p14:sldId id="10604"/>
            <p14:sldId id="10605"/>
            <p14:sldId id="10606"/>
            <p14:sldId id="2076138662"/>
            <p14:sldId id="2076138645"/>
            <p14:sldId id="10611"/>
            <p14:sldId id="10612"/>
            <p14:sldId id="10613"/>
            <p14:sldId id="2076138703"/>
            <p14:sldId id="2076138665"/>
            <p14:sldId id="207613867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62D92B-CEB8-E3FD-A606-E99EC3DBBD3C}" name="Yee-Ann Lee (Magnolia Ventures LLC)" initials="YL" userId="S::v-yeelee@microsoft.com::08adca8e-d2a9-42ff-a1a4-f8c64345c538" providerId="AD"/>
  <p188:author id="{461B8E9F-051B-77EB-6F49-267B5182E2BD}" name="Renato Leite" initials="RL" userId="S::releite@microsoft.com::4fcead86-5356-4a5b-8b62-58004d8440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ee-Ann Lee" initials="YL" lastIdx="3" clrIdx="0">
    <p:extLst>
      <p:ext uri="{19B8F6BF-5375-455C-9EA6-DF929625EA0E}">
        <p15:presenceInfo xmlns:p15="http://schemas.microsoft.com/office/powerpoint/2012/main" userId="Yee-Ann Lee" providerId="None"/>
      </p:ext>
    </p:extLst>
  </p:cmAuthor>
  <p:cmAuthor id="2" name="Guest User" initials="GU" lastIdx="2" clrIdx="1">
    <p:extLst>
      <p:ext uri="{19B8F6BF-5375-455C-9EA6-DF929625EA0E}">
        <p15:presenceInfo xmlns:p15="http://schemas.microsoft.com/office/powerpoint/2012/main" userId="S::urn:spo:anon#55e2d15830029656314f8c62f2b28b0d5b3b553403b8b6786c6ca69474248d00::" providerId="AD"/>
      </p:ext>
    </p:extLst>
  </p:cmAuthor>
  <p:cmAuthor id="3" name="Alex Hickox" initials="AH" lastIdx="24" clrIdx="2">
    <p:extLst>
      <p:ext uri="{19B8F6BF-5375-455C-9EA6-DF929625EA0E}">
        <p15:presenceInfo xmlns:p15="http://schemas.microsoft.com/office/powerpoint/2012/main" userId="Alex Hickox" providerId="None"/>
      </p:ext>
    </p:extLst>
  </p:cmAuthor>
  <p:cmAuthor id="4" name="Nikki Swift" initials="NS" lastIdx="39" clrIdx="3">
    <p:extLst>
      <p:ext uri="{19B8F6BF-5375-455C-9EA6-DF929625EA0E}">
        <p15:presenceInfo xmlns:p15="http://schemas.microsoft.com/office/powerpoint/2012/main" userId="Nikki Swift" providerId="None"/>
      </p:ext>
    </p:extLst>
  </p:cmAuthor>
  <p:cmAuthor id="5" name="Elisabeth Michaud" initials="EM" lastIdx="8" clrIdx="4">
    <p:extLst>
      <p:ext uri="{19B8F6BF-5375-455C-9EA6-DF929625EA0E}">
        <p15:presenceInfo xmlns:p15="http://schemas.microsoft.com/office/powerpoint/2012/main" userId="S::elisamic@microsoft.com::e55b8dc4-e5ef-49c9-9406-3c603985a0cf" providerId="AD"/>
      </p:ext>
    </p:extLst>
  </p:cmAuthor>
  <p:cmAuthor id="6" name="Yee-Ann Lee (Magnolia Ventures LLC)" initials="YL(VL" lastIdx="34" clrIdx="5">
    <p:extLst>
      <p:ext uri="{19B8F6BF-5375-455C-9EA6-DF929625EA0E}">
        <p15:presenceInfo xmlns:p15="http://schemas.microsoft.com/office/powerpoint/2012/main" userId="S::v-yeelee@microsoft.com::08adca8e-d2a9-42ff-a1a4-f8c64345c538" providerId="AD"/>
      </p:ext>
    </p:extLst>
  </p:cmAuthor>
  <p:cmAuthor id="7" name="Kristen Stapleton-Paff" initials="KS" lastIdx="4" clrIdx="6">
    <p:extLst>
      <p:ext uri="{19B8F6BF-5375-455C-9EA6-DF929625EA0E}">
        <p15:presenceInfo xmlns:p15="http://schemas.microsoft.com/office/powerpoint/2012/main" userId="48b75182ae3f0c49" providerId="Windows Live"/>
      </p:ext>
    </p:extLst>
  </p:cmAuthor>
  <p:cmAuthor id="8" name="Kristen Paff" initials="KP" lastIdx="3" clrIdx="7">
    <p:extLst>
      <p:ext uri="{19B8F6BF-5375-455C-9EA6-DF929625EA0E}">
        <p15:presenceInfo xmlns:p15="http://schemas.microsoft.com/office/powerpoint/2012/main" userId="Kristen Paff" providerId="None"/>
      </p:ext>
    </p:extLst>
  </p:cmAuthor>
  <p:cmAuthor id="9" name="Nikki Swift" initials="NS [2]" lastIdx="2" clrIdx="8">
    <p:extLst>
      <p:ext uri="{19B8F6BF-5375-455C-9EA6-DF929625EA0E}">
        <p15:presenceInfo xmlns:p15="http://schemas.microsoft.com/office/powerpoint/2012/main" userId="S::nikki.swift@simple-concepts.com::f85e910b-cb7b-48e6-b3ec-0449818b597d" providerId="AD"/>
      </p:ext>
    </p:extLst>
  </p:cmAuthor>
  <p:cmAuthor id="10" name="Nicole Desjardins" initials="ND" lastIdx="9" clrIdx="9">
    <p:extLst>
      <p:ext uri="{19B8F6BF-5375-455C-9EA6-DF929625EA0E}">
        <p15:presenceInfo xmlns:p15="http://schemas.microsoft.com/office/powerpoint/2012/main" userId="S::ndesjard@linkedin.biz::f47875f4-1bd5-4297-a56d-09acb0d9a031" providerId="AD"/>
      </p:ext>
    </p:extLst>
  </p:cmAuthor>
  <p:cmAuthor id="11" name="Angel Gonzalez" initials="AG" lastIdx="1" clrIdx="10">
    <p:extLst>
      <p:ext uri="{19B8F6BF-5375-455C-9EA6-DF929625EA0E}">
        <p15:presenceInfo xmlns:p15="http://schemas.microsoft.com/office/powerpoint/2012/main" userId="S::aegonzal@linkedin.biz::d89c3b4b-b1db-4b8a-9370-f2c1f564500d" providerId="AD"/>
      </p:ext>
    </p:extLst>
  </p:cmAuthor>
  <p:cmAuthor id="12" name="Jessica Crespino" initials="JC" lastIdx="9" clrIdx="11">
    <p:extLst>
      <p:ext uri="{19B8F6BF-5375-455C-9EA6-DF929625EA0E}">
        <p15:presenceInfo xmlns:p15="http://schemas.microsoft.com/office/powerpoint/2012/main" userId="Jessica Crespino" providerId="None"/>
      </p:ext>
    </p:extLst>
  </p:cmAuthor>
  <p:cmAuthor id="13" name="Justin Padley" initials="JP" lastIdx="3" clrIdx="12">
    <p:extLst>
      <p:ext uri="{19B8F6BF-5375-455C-9EA6-DF929625EA0E}">
        <p15:presenceInfo xmlns:p15="http://schemas.microsoft.com/office/powerpoint/2012/main" userId="Justin Padley" providerId="None"/>
      </p:ext>
    </p:extLst>
  </p:cmAuthor>
  <p:cmAuthor id="14" name="Kathryn Courtney" initials="KC" lastIdx="3" clrIdx="13">
    <p:extLst>
      <p:ext uri="{19B8F6BF-5375-455C-9EA6-DF929625EA0E}">
        <p15:presenceInfo xmlns:p15="http://schemas.microsoft.com/office/powerpoint/2012/main" userId="Kathryn Courtney" providerId="None"/>
      </p:ext>
    </p:extLst>
  </p:cmAuthor>
  <p:cmAuthor id="15" name="Guest User" initials="GU [2]" lastIdx="1" clrIdx="14">
    <p:extLst>
      <p:ext uri="{19B8F6BF-5375-455C-9EA6-DF929625EA0E}">
        <p15:presenceInfo xmlns:p15="http://schemas.microsoft.com/office/powerpoint/2012/main" userId="S::urn:spo:anon#2a590295f9fd1bb445334102fc8e1dc7530ae8600915a969b923600a4c03b06f::" providerId="AD"/>
      </p:ext>
    </p:extLst>
  </p:cmAuthor>
  <p:cmAuthor id="16" name="Mary Lisa Newman" initials="MLN" lastIdx="6" clrIdx="15">
    <p:extLst>
      <p:ext uri="{19B8F6BF-5375-455C-9EA6-DF929625EA0E}">
        <p15:presenceInfo xmlns:p15="http://schemas.microsoft.com/office/powerpoint/2012/main" userId="S::marylisa@audienz.com::9c8cba21-67a1-4aa9-98ba-c4ca1eda0a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3A00"/>
    <a:srgbClr val="0069AD"/>
    <a:srgbClr val="008272"/>
    <a:srgbClr val="E6E6E6"/>
    <a:srgbClr val="FFFFFF"/>
    <a:srgbClr val="5F5F5F"/>
    <a:srgbClr val="0099CC"/>
    <a:srgbClr val="336699"/>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A2BE10-43E4-4882-A5FB-D00536775DD8}" v="15" dt="2020-06-23T23:52:15.423"/>
    <p1510:client id="{E43DB6EA-01AD-F658-1084-376FB4668AEE}" v="395" dt="2020-07-29T22:03:33.3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014" autoAdjust="0"/>
  </p:normalViewPr>
  <p:slideViewPr>
    <p:cSldViewPr snapToGrid="0">
      <p:cViewPr varScale="1">
        <p:scale>
          <a:sx n="101" d="100"/>
          <a:sy n="101" d="100"/>
        </p:scale>
        <p:origin x="666" y="12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hryn Courtney" userId="47f03cbe-3182-49c3-8a15-72d4a7c4d181" providerId="ADAL" clId="{9F3F2AD5-80C2-4DD2-9110-AB6EA69F5318}"/>
    <pc:docChg chg="delSld modSection">
      <pc:chgData name="Kathryn Courtney" userId="47f03cbe-3182-49c3-8a15-72d4a7c4d181" providerId="ADAL" clId="{9F3F2AD5-80C2-4DD2-9110-AB6EA69F5318}" dt="2020-06-15T17:52:05.278" v="0" actId="2696"/>
      <pc:docMkLst>
        <pc:docMk/>
      </pc:docMkLst>
      <pc:sldChg chg="del">
        <pc:chgData name="Kathryn Courtney" userId="47f03cbe-3182-49c3-8a15-72d4a7c4d181" providerId="ADAL" clId="{9F3F2AD5-80C2-4DD2-9110-AB6EA69F5318}" dt="2020-06-15T17:52:05.278" v="0" actId="2696"/>
        <pc:sldMkLst>
          <pc:docMk/>
          <pc:sldMk cId="416455892" sldId="2076138704"/>
        </pc:sldMkLst>
      </pc:sldChg>
    </pc:docChg>
  </pc:docChgLst>
  <pc:docChgLst>
    <pc:chgData name="Rudolf Kharpuri [Chillibreeze]" userId="f3e0ed64-a633-4df5-95e6-1cf85dd3d4d2" providerId="ADAL" clId="{8953BA98-26A8-4D8C-A5AE-4CCF20ED80C7}"/>
    <pc:docChg chg="modSld">
      <pc:chgData name="Rudolf Kharpuri [Chillibreeze]" userId="f3e0ed64-a633-4df5-95e6-1cf85dd3d4d2" providerId="ADAL" clId="{8953BA98-26A8-4D8C-A5AE-4CCF20ED80C7}" dt="2020-06-12T09:47:46.033" v="0"/>
      <pc:docMkLst>
        <pc:docMk/>
      </pc:docMkLst>
      <pc:sldChg chg="modCm">
        <pc:chgData name="Rudolf Kharpuri [Chillibreeze]" userId="f3e0ed64-a633-4df5-95e6-1cf85dd3d4d2" providerId="ADAL" clId="{8953BA98-26A8-4D8C-A5AE-4CCF20ED80C7}" dt="2020-06-12T09:47:46.033" v="0"/>
        <pc:sldMkLst>
          <pc:docMk/>
          <pc:sldMk cId="2540817366" sldId="2076138690"/>
        </pc:sldMkLst>
      </pc:sldChg>
    </pc:docChg>
  </pc:docChgLst>
  <pc:docChgLst>
    <pc:chgData name="Diana Mary Pyngrope [Chillibreeze]" userId="dee9ced0-7628-465b-be92-498a19e92798" providerId="ADAL" clId="{29B58B93-244A-4365-9A4E-E800C1E69E7A}"/>
    <pc:docChg chg="modSld">
      <pc:chgData name="Diana Mary Pyngrope [Chillibreeze]" userId="dee9ced0-7628-465b-be92-498a19e92798" providerId="ADAL" clId="{29B58B93-244A-4365-9A4E-E800C1E69E7A}" dt="2020-06-08T08:53:17.618" v="3" actId="164"/>
      <pc:docMkLst>
        <pc:docMk/>
      </pc:docMkLst>
      <pc:sldChg chg="addSp delSp modSp">
        <pc:chgData name="Diana Mary Pyngrope [Chillibreeze]" userId="dee9ced0-7628-465b-be92-498a19e92798" providerId="ADAL" clId="{29B58B93-244A-4365-9A4E-E800C1E69E7A}" dt="2020-06-08T08:53:17.618" v="3" actId="164"/>
        <pc:sldMkLst>
          <pc:docMk/>
          <pc:sldMk cId="1536175566" sldId="2076138655"/>
        </pc:sldMkLst>
        <pc:spChg chg="add del mod">
          <ac:chgData name="Diana Mary Pyngrope [Chillibreeze]" userId="dee9ced0-7628-465b-be92-498a19e92798" providerId="ADAL" clId="{29B58B93-244A-4365-9A4E-E800C1E69E7A}" dt="2020-06-08T08:53:10.655" v="2"/>
          <ac:spMkLst>
            <pc:docMk/>
            <pc:sldMk cId="1536175566" sldId="2076138655"/>
            <ac:spMk id="3" creationId="{2BF6FD48-707D-42FF-B9F4-88740EFCEEED}"/>
          </ac:spMkLst>
        </pc:spChg>
        <pc:spChg chg="mod">
          <ac:chgData name="Diana Mary Pyngrope [Chillibreeze]" userId="dee9ced0-7628-465b-be92-498a19e92798" providerId="ADAL" clId="{29B58B93-244A-4365-9A4E-E800C1E69E7A}" dt="2020-06-08T08:53:17.618" v="3" actId="164"/>
          <ac:spMkLst>
            <pc:docMk/>
            <pc:sldMk cId="1536175566" sldId="2076138655"/>
            <ac:spMk id="41" creationId="{AD0A2CC0-C251-4D31-B3AD-C4FFC9226299}"/>
          </ac:spMkLst>
        </pc:spChg>
        <pc:spChg chg="mod">
          <ac:chgData name="Diana Mary Pyngrope [Chillibreeze]" userId="dee9ced0-7628-465b-be92-498a19e92798" providerId="ADAL" clId="{29B58B93-244A-4365-9A4E-E800C1E69E7A}" dt="2020-06-08T08:53:09.384" v="0" actId="164"/>
          <ac:spMkLst>
            <pc:docMk/>
            <pc:sldMk cId="1536175566" sldId="2076138655"/>
            <ac:spMk id="42" creationId="{E12EC0E2-C801-40D2-8B8F-6F79633AB918}"/>
          </ac:spMkLst>
        </pc:spChg>
        <pc:grpChg chg="add mod">
          <ac:chgData name="Diana Mary Pyngrope [Chillibreeze]" userId="dee9ced0-7628-465b-be92-498a19e92798" providerId="ADAL" clId="{29B58B93-244A-4365-9A4E-E800C1E69E7A}" dt="2020-06-08T08:53:17.618" v="3" actId="164"/>
          <ac:grpSpMkLst>
            <pc:docMk/>
            <pc:sldMk cId="1536175566" sldId="2076138655"/>
            <ac:grpSpMk id="2" creationId="{6E2FFEF6-E81B-4DC0-AA7F-0F7806000C7D}"/>
          </ac:grpSpMkLst>
        </pc:grpChg>
        <pc:grpChg chg="add mod">
          <ac:chgData name="Diana Mary Pyngrope [Chillibreeze]" userId="dee9ced0-7628-465b-be92-498a19e92798" providerId="ADAL" clId="{29B58B93-244A-4365-9A4E-E800C1E69E7A}" dt="2020-06-08T08:53:17.618" v="3" actId="164"/>
          <ac:grpSpMkLst>
            <pc:docMk/>
            <pc:sldMk cId="1536175566" sldId="2076138655"/>
            <ac:grpSpMk id="5" creationId="{C4A30E03-42C5-45C8-99EC-45A8DBCC1935}"/>
          </ac:grpSpMkLst>
        </pc:grpChg>
        <pc:grpChg chg="mod">
          <ac:chgData name="Diana Mary Pyngrope [Chillibreeze]" userId="dee9ced0-7628-465b-be92-498a19e92798" providerId="ADAL" clId="{29B58B93-244A-4365-9A4E-E800C1E69E7A}" dt="2020-06-08T08:53:09.384" v="0" actId="164"/>
          <ac:grpSpMkLst>
            <pc:docMk/>
            <pc:sldMk cId="1536175566" sldId="2076138655"/>
            <ac:grpSpMk id="43" creationId="{A2D41F86-DFB5-42C4-B68C-0D02A4F178EB}"/>
          </ac:grpSpMkLst>
        </pc:grpChg>
        <pc:grpChg chg="mod">
          <ac:chgData name="Diana Mary Pyngrope [Chillibreeze]" userId="dee9ced0-7628-465b-be92-498a19e92798" providerId="ADAL" clId="{29B58B93-244A-4365-9A4E-E800C1E69E7A}" dt="2020-06-08T08:53:09.384" v="0" actId="164"/>
          <ac:grpSpMkLst>
            <pc:docMk/>
            <pc:sldMk cId="1536175566" sldId="2076138655"/>
            <ac:grpSpMk id="46" creationId="{98BA20D6-D68A-4D61-8856-99DA7EA5EDED}"/>
          </ac:grpSpMkLst>
        </pc:grpChg>
        <pc:grpChg chg="mod">
          <ac:chgData name="Diana Mary Pyngrope [Chillibreeze]" userId="dee9ced0-7628-465b-be92-498a19e92798" providerId="ADAL" clId="{29B58B93-244A-4365-9A4E-E800C1E69E7A}" dt="2020-06-08T08:53:09.384" v="0" actId="164"/>
          <ac:grpSpMkLst>
            <pc:docMk/>
            <pc:sldMk cId="1536175566" sldId="2076138655"/>
            <ac:grpSpMk id="49" creationId="{32DB1B41-1B6E-4F3F-BE3A-68EDEA61F5D2}"/>
          </ac:grpSpMkLst>
        </pc:grpChg>
      </pc:sldChg>
    </pc:docChg>
  </pc:docChgLst>
  <pc:docChgLst>
    <pc:chgData name="Guest User" userId="S::urn:spo:anon#2a590295f9fd1bb445334102fc8e1dc7530ae8600915a969b923600a4c03b06f::" providerId="AD" clId="Web-{B97923F3-167F-6E1B-B95A-16FE7986A6E7}"/>
    <pc:docChg chg="modSld">
      <pc:chgData name="Guest User" userId="S::urn:spo:anon#2a590295f9fd1bb445334102fc8e1dc7530ae8600915a969b923600a4c03b06f::" providerId="AD" clId="Web-{B97923F3-167F-6E1B-B95A-16FE7986A6E7}" dt="2020-06-11T09:37:38.812" v="3"/>
      <pc:docMkLst>
        <pc:docMk/>
      </pc:docMkLst>
      <pc:sldChg chg="modSp">
        <pc:chgData name="Guest User" userId="S::urn:spo:anon#2a590295f9fd1bb445334102fc8e1dc7530ae8600915a969b923600a4c03b06f::" providerId="AD" clId="Web-{B97923F3-167F-6E1B-B95A-16FE7986A6E7}" dt="2020-06-11T09:34:02.184" v="2" actId="20577"/>
        <pc:sldMkLst>
          <pc:docMk/>
          <pc:sldMk cId="2521209070" sldId="2076138688"/>
        </pc:sldMkLst>
        <pc:spChg chg="mod">
          <ac:chgData name="Guest User" userId="S::urn:spo:anon#2a590295f9fd1bb445334102fc8e1dc7530ae8600915a969b923600a4c03b06f::" providerId="AD" clId="Web-{B97923F3-167F-6E1B-B95A-16FE7986A6E7}" dt="2020-06-11T09:34:02.184" v="2" actId="20577"/>
          <ac:spMkLst>
            <pc:docMk/>
            <pc:sldMk cId="2521209070" sldId="2076138688"/>
            <ac:spMk id="9" creationId="{97BC02C4-A4D9-425D-9E01-0B3F3BFA5B82}"/>
          </ac:spMkLst>
        </pc:spChg>
      </pc:sldChg>
      <pc:sldChg chg="addCm">
        <pc:chgData name="Guest User" userId="S::urn:spo:anon#2a590295f9fd1bb445334102fc8e1dc7530ae8600915a969b923600a4c03b06f::" providerId="AD" clId="Web-{B97923F3-167F-6E1B-B95A-16FE7986A6E7}" dt="2020-06-11T09:37:38.812" v="3"/>
        <pc:sldMkLst>
          <pc:docMk/>
          <pc:sldMk cId="2540817366" sldId="2076138690"/>
        </pc:sldMkLst>
      </pc:sldChg>
    </pc:docChg>
  </pc:docChgLst>
  <pc:docChgLst>
    <pc:chgData name="Mary Lisa Newman" userId="9c8cba21-67a1-4aa9-98ba-c4ca1eda0aa0" providerId="ADAL" clId="{18A2BE10-43E4-4882-A5FB-D00536775DD8}"/>
    <pc:docChg chg="undo custSel modSld">
      <pc:chgData name="Mary Lisa Newman" userId="9c8cba21-67a1-4aa9-98ba-c4ca1eda0aa0" providerId="ADAL" clId="{18A2BE10-43E4-4882-A5FB-D00536775DD8}" dt="2020-06-23T23:52:15.423" v="174"/>
      <pc:docMkLst>
        <pc:docMk/>
      </pc:docMkLst>
      <pc:sldChg chg="modSp">
        <pc:chgData name="Mary Lisa Newman" userId="9c8cba21-67a1-4aa9-98ba-c4ca1eda0aa0" providerId="ADAL" clId="{18A2BE10-43E4-4882-A5FB-D00536775DD8}" dt="2020-06-23T22:33:08.894" v="51" actId="13926"/>
        <pc:sldMkLst>
          <pc:docMk/>
          <pc:sldMk cId="0" sldId="267"/>
        </pc:sldMkLst>
        <pc:spChg chg="mod">
          <ac:chgData name="Mary Lisa Newman" userId="9c8cba21-67a1-4aa9-98ba-c4ca1eda0aa0" providerId="ADAL" clId="{18A2BE10-43E4-4882-A5FB-D00536775DD8}" dt="2020-06-23T22:32:11.971" v="40" actId="13926"/>
          <ac:spMkLst>
            <pc:docMk/>
            <pc:sldMk cId="0" sldId="267"/>
            <ac:spMk id="29" creationId="{2CA6D14C-A423-4E94-BBA8-CC186C87B5F4}"/>
          </ac:spMkLst>
        </pc:spChg>
        <pc:spChg chg="mod">
          <ac:chgData name="Mary Lisa Newman" userId="9c8cba21-67a1-4aa9-98ba-c4ca1eda0aa0" providerId="ADAL" clId="{18A2BE10-43E4-4882-A5FB-D00536775DD8}" dt="2020-06-23T22:32:19.049" v="42" actId="13926"/>
          <ac:spMkLst>
            <pc:docMk/>
            <pc:sldMk cId="0" sldId="267"/>
            <ac:spMk id="31" creationId="{6EEF2F09-579B-4A79-8E84-C558AE87AF5F}"/>
          </ac:spMkLst>
        </pc:spChg>
        <pc:spChg chg="mod">
          <ac:chgData name="Mary Lisa Newman" userId="9c8cba21-67a1-4aa9-98ba-c4ca1eda0aa0" providerId="ADAL" clId="{18A2BE10-43E4-4882-A5FB-D00536775DD8}" dt="2020-06-23T22:32:37.070" v="44" actId="13926"/>
          <ac:spMkLst>
            <pc:docMk/>
            <pc:sldMk cId="0" sldId="267"/>
            <ac:spMk id="32" creationId="{9628719E-70BB-43F6-B26E-C0BE669CC7E0}"/>
          </ac:spMkLst>
        </pc:spChg>
        <pc:spChg chg="mod">
          <ac:chgData name="Mary Lisa Newman" userId="9c8cba21-67a1-4aa9-98ba-c4ca1eda0aa0" providerId="ADAL" clId="{18A2BE10-43E4-4882-A5FB-D00536775DD8}" dt="2020-06-23T22:32:54.152" v="48" actId="13926"/>
          <ac:spMkLst>
            <pc:docMk/>
            <pc:sldMk cId="0" sldId="267"/>
            <ac:spMk id="35" creationId="{79BAE192-0C81-4B28-BC5F-A4921025409F}"/>
          </ac:spMkLst>
        </pc:spChg>
        <pc:spChg chg="mod">
          <ac:chgData name="Mary Lisa Newman" userId="9c8cba21-67a1-4aa9-98ba-c4ca1eda0aa0" providerId="ADAL" clId="{18A2BE10-43E4-4882-A5FB-D00536775DD8}" dt="2020-06-23T22:33:08.894" v="51" actId="13926"/>
          <ac:spMkLst>
            <pc:docMk/>
            <pc:sldMk cId="0" sldId="267"/>
            <ac:spMk id="36" creationId="{1B07D6DD-DDA7-4599-A298-979D1CEDB76E}"/>
          </ac:spMkLst>
        </pc:spChg>
        <pc:spChg chg="mod">
          <ac:chgData name="Mary Lisa Newman" userId="9c8cba21-67a1-4aa9-98ba-c4ca1eda0aa0" providerId="ADAL" clId="{18A2BE10-43E4-4882-A5FB-D00536775DD8}" dt="2020-06-23T22:32:42.026" v="45" actId="13926"/>
          <ac:spMkLst>
            <pc:docMk/>
            <pc:sldMk cId="0" sldId="267"/>
            <ac:spMk id="37" creationId="{1ADD0BB3-1ECC-45D3-808A-283AE5B42BA4}"/>
          </ac:spMkLst>
        </pc:spChg>
      </pc:sldChg>
      <pc:sldChg chg="modSp">
        <pc:chgData name="Mary Lisa Newman" userId="9c8cba21-67a1-4aa9-98ba-c4ca1eda0aa0" providerId="ADAL" clId="{18A2BE10-43E4-4882-A5FB-D00536775DD8}" dt="2020-06-23T22:36:27.920" v="83" actId="13926"/>
        <pc:sldMkLst>
          <pc:docMk/>
          <pc:sldMk cId="3164954379" sldId="272"/>
        </pc:sldMkLst>
        <pc:spChg chg="mod">
          <ac:chgData name="Mary Lisa Newman" userId="9c8cba21-67a1-4aa9-98ba-c4ca1eda0aa0" providerId="ADAL" clId="{18A2BE10-43E4-4882-A5FB-D00536775DD8}" dt="2020-06-23T22:35:42.501" v="74" actId="13926"/>
          <ac:spMkLst>
            <pc:docMk/>
            <pc:sldMk cId="3164954379" sldId="272"/>
            <ac:spMk id="19" creationId="{41684110-2615-4ACF-B92A-9CAF12757E59}"/>
          </ac:spMkLst>
        </pc:spChg>
        <pc:spChg chg="mod">
          <ac:chgData name="Mary Lisa Newman" userId="9c8cba21-67a1-4aa9-98ba-c4ca1eda0aa0" providerId="ADAL" clId="{18A2BE10-43E4-4882-A5FB-D00536775DD8}" dt="2020-06-23T22:35:48.411" v="76" actId="13926"/>
          <ac:spMkLst>
            <pc:docMk/>
            <pc:sldMk cId="3164954379" sldId="272"/>
            <ac:spMk id="52" creationId="{50B98C15-7843-4B54-8A89-F219628CFDBB}"/>
          </ac:spMkLst>
        </pc:spChg>
        <pc:spChg chg="mod">
          <ac:chgData name="Mary Lisa Newman" userId="9c8cba21-67a1-4aa9-98ba-c4ca1eda0aa0" providerId="ADAL" clId="{18A2BE10-43E4-4882-A5FB-D00536775DD8}" dt="2020-06-23T22:35:59.954" v="78" actId="13926"/>
          <ac:spMkLst>
            <pc:docMk/>
            <pc:sldMk cId="3164954379" sldId="272"/>
            <ac:spMk id="53" creationId="{DFF179E7-2C5D-4D10-8096-A45939F52A2A}"/>
          </ac:spMkLst>
        </pc:spChg>
        <pc:spChg chg="mod">
          <ac:chgData name="Mary Lisa Newman" userId="9c8cba21-67a1-4aa9-98ba-c4ca1eda0aa0" providerId="ADAL" clId="{18A2BE10-43E4-4882-A5FB-D00536775DD8}" dt="2020-06-23T22:36:16.676" v="81" actId="13926"/>
          <ac:spMkLst>
            <pc:docMk/>
            <pc:sldMk cId="3164954379" sldId="272"/>
            <ac:spMk id="55" creationId="{23FBDA08-A4A7-42A7-93FE-859A95C6975D}"/>
          </ac:spMkLst>
        </pc:spChg>
        <pc:spChg chg="mod">
          <ac:chgData name="Mary Lisa Newman" userId="9c8cba21-67a1-4aa9-98ba-c4ca1eda0aa0" providerId="ADAL" clId="{18A2BE10-43E4-4882-A5FB-D00536775DD8}" dt="2020-06-23T22:36:27.920" v="83" actId="13926"/>
          <ac:spMkLst>
            <pc:docMk/>
            <pc:sldMk cId="3164954379" sldId="272"/>
            <ac:spMk id="56" creationId="{38225398-52D3-4479-BEDC-ED879D5327F6}"/>
          </ac:spMkLst>
        </pc:spChg>
      </pc:sldChg>
      <pc:sldChg chg="modSp">
        <pc:chgData name="Mary Lisa Newman" userId="9c8cba21-67a1-4aa9-98ba-c4ca1eda0aa0" providerId="ADAL" clId="{18A2BE10-43E4-4882-A5FB-D00536775DD8}" dt="2020-06-23T22:37:57.338" v="94" actId="13926"/>
        <pc:sldMkLst>
          <pc:docMk/>
          <pc:sldMk cId="0" sldId="276"/>
        </pc:sldMkLst>
        <pc:spChg chg="mod">
          <ac:chgData name="Mary Lisa Newman" userId="9c8cba21-67a1-4aa9-98ba-c4ca1eda0aa0" providerId="ADAL" clId="{18A2BE10-43E4-4882-A5FB-D00536775DD8}" dt="2020-06-23T22:36:48.026" v="85" actId="13926"/>
          <ac:spMkLst>
            <pc:docMk/>
            <pc:sldMk cId="0" sldId="276"/>
            <ac:spMk id="32" creationId="{260CEE37-BF28-4E88-B7E2-DF45529CBAEA}"/>
          </ac:spMkLst>
        </pc:spChg>
        <pc:spChg chg="mod">
          <ac:chgData name="Mary Lisa Newman" userId="9c8cba21-67a1-4aa9-98ba-c4ca1eda0aa0" providerId="ADAL" clId="{18A2BE10-43E4-4882-A5FB-D00536775DD8}" dt="2020-06-23T22:36:51.819" v="86" actId="13926"/>
          <ac:spMkLst>
            <pc:docMk/>
            <pc:sldMk cId="0" sldId="276"/>
            <ac:spMk id="34" creationId="{EBC6C8C9-16A8-450B-B10B-D6403C2F8430}"/>
          </ac:spMkLst>
        </pc:spChg>
        <pc:spChg chg="mod">
          <ac:chgData name="Mary Lisa Newman" userId="9c8cba21-67a1-4aa9-98ba-c4ca1eda0aa0" providerId="ADAL" clId="{18A2BE10-43E4-4882-A5FB-D00536775DD8}" dt="2020-06-23T22:37:57.338" v="94" actId="13926"/>
          <ac:spMkLst>
            <pc:docMk/>
            <pc:sldMk cId="0" sldId="276"/>
            <ac:spMk id="38" creationId="{E5FD69F4-12A9-4CAE-A635-2861716A03A4}"/>
          </ac:spMkLst>
        </pc:spChg>
        <pc:spChg chg="mod">
          <ac:chgData name="Mary Lisa Newman" userId="9c8cba21-67a1-4aa9-98ba-c4ca1eda0aa0" providerId="ADAL" clId="{18A2BE10-43E4-4882-A5FB-D00536775DD8}" dt="2020-06-23T22:36:59.530" v="87" actId="13926"/>
          <ac:spMkLst>
            <pc:docMk/>
            <pc:sldMk cId="0" sldId="276"/>
            <ac:spMk id="40" creationId="{E5391E1D-E32F-4460-B680-FEF06678E4BD}"/>
          </ac:spMkLst>
        </pc:spChg>
        <pc:spChg chg="mod">
          <ac:chgData name="Mary Lisa Newman" userId="9c8cba21-67a1-4aa9-98ba-c4ca1eda0aa0" providerId="ADAL" clId="{18A2BE10-43E4-4882-A5FB-D00536775DD8}" dt="2020-06-23T22:37:12.233" v="90" actId="13926"/>
          <ac:spMkLst>
            <pc:docMk/>
            <pc:sldMk cId="0" sldId="276"/>
            <ac:spMk id="52" creationId="{CC056C72-5B5C-4680-87A6-3E5FB84A2AA3}"/>
          </ac:spMkLst>
        </pc:spChg>
      </pc:sldChg>
      <pc:sldChg chg="modSp">
        <pc:chgData name="Mary Lisa Newman" userId="9c8cba21-67a1-4aa9-98ba-c4ca1eda0aa0" providerId="ADAL" clId="{18A2BE10-43E4-4882-A5FB-D00536775DD8}" dt="2020-06-23T22:41:17.157" v="130" actId="13926"/>
        <pc:sldMkLst>
          <pc:docMk/>
          <pc:sldMk cId="3661084469" sldId="10604"/>
        </pc:sldMkLst>
        <pc:spChg chg="mod">
          <ac:chgData name="Mary Lisa Newman" userId="9c8cba21-67a1-4aa9-98ba-c4ca1eda0aa0" providerId="ADAL" clId="{18A2BE10-43E4-4882-A5FB-D00536775DD8}" dt="2020-06-23T22:40:27.566" v="121" actId="20577"/>
          <ac:spMkLst>
            <pc:docMk/>
            <pc:sldMk cId="3661084469" sldId="10604"/>
            <ac:spMk id="19" creationId="{6F1F659D-965F-48C2-B3F8-D38E1572F905}"/>
          </ac:spMkLst>
        </pc:spChg>
        <pc:spChg chg="mod">
          <ac:chgData name="Mary Lisa Newman" userId="9c8cba21-67a1-4aa9-98ba-c4ca1eda0aa0" providerId="ADAL" clId="{18A2BE10-43E4-4882-A5FB-D00536775DD8}" dt="2020-06-23T22:40:30.630" v="122" actId="13926"/>
          <ac:spMkLst>
            <pc:docMk/>
            <pc:sldMk cId="3661084469" sldId="10604"/>
            <ac:spMk id="32" creationId="{210940A9-2454-4421-920C-A7EB2D608EE9}"/>
          </ac:spMkLst>
        </pc:spChg>
        <pc:spChg chg="mod">
          <ac:chgData name="Mary Lisa Newman" userId="9c8cba21-67a1-4aa9-98ba-c4ca1eda0aa0" providerId="ADAL" clId="{18A2BE10-43E4-4882-A5FB-D00536775DD8}" dt="2020-06-23T22:41:17.157" v="130" actId="13926"/>
          <ac:spMkLst>
            <pc:docMk/>
            <pc:sldMk cId="3661084469" sldId="10604"/>
            <ac:spMk id="34" creationId="{409FF2B4-FF12-453A-8E65-68D2B1A57F75}"/>
          </ac:spMkLst>
        </pc:spChg>
        <pc:spChg chg="mod">
          <ac:chgData name="Mary Lisa Newman" userId="9c8cba21-67a1-4aa9-98ba-c4ca1eda0aa0" providerId="ADAL" clId="{18A2BE10-43E4-4882-A5FB-D00536775DD8}" dt="2020-06-23T22:40:38.132" v="123" actId="13926"/>
          <ac:spMkLst>
            <pc:docMk/>
            <pc:sldMk cId="3661084469" sldId="10604"/>
            <ac:spMk id="47" creationId="{57CD8B16-EE97-4A96-9649-88219B940363}"/>
          </ac:spMkLst>
        </pc:spChg>
      </pc:sldChg>
      <pc:sldChg chg="modSp">
        <pc:chgData name="Mary Lisa Newman" userId="9c8cba21-67a1-4aa9-98ba-c4ca1eda0aa0" providerId="ADAL" clId="{18A2BE10-43E4-4882-A5FB-D00536775DD8}" dt="2020-06-23T22:42:49.986" v="141" actId="13926"/>
        <pc:sldMkLst>
          <pc:docMk/>
          <pc:sldMk cId="1714833639" sldId="10605"/>
        </pc:sldMkLst>
        <pc:spChg chg="mod">
          <ac:chgData name="Mary Lisa Newman" userId="9c8cba21-67a1-4aa9-98ba-c4ca1eda0aa0" providerId="ADAL" clId="{18A2BE10-43E4-4882-A5FB-D00536775DD8}" dt="2020-06-23T22:42:12.139" v="134" actId="13926"/>
          <ac:spMkLst>
            <pc:docMk/>
            <pc:sldMk cId="1714833639" sldId="10605"/>
            <ac:spMk id="31" creationId="{CA931388-9468-4DD5-9810-A24A4581D3C1}"/>
          </ac:spMkLst>
        </pc:spChg>
        <pc:spChg chg="mod">
          <ac:chgData name="Mary Lisa Newman" userId="9c8cba21-67a1-4aa9-98ba-c4ca1eda0aa0" providerId="ADAL" clId="{18A2BE10-43E4-4882-A5FB-D00536775DD8}" dt="2020-06-23T22:42:17.309" v="135" actId="13926"/>
          <ac:spMkLst>
            <pc:docMk/>
            <pc:sldMk cId="1714833639" sldId="10605"/>
            <ac:spMk id="45" creationId="{CB3C713C-C112-4B75-8CAF-C47AC12A1F3C}"/>
          </ac:spMkLst>
        </pc:spChg>
        <pc:spChg chg="mod">
          <ac:chgData name="Mary Lisa Newman" userId="9c8cba21-67a1-4aa9-98ba-c4ca1eda0aa0" providerId="ADAL" clId="{18A2BE10-43E4-4882-A5FB-D00536775DD8}" dt="2020-06-23T22:42:49.986" v="141" actId="13926"/>
          <ac:spMkLst>
            <pc:docMk/>
            <pc:sldMk cId="1714833639" sldId="10605"/>
            <ac:spMk id="47" creationId="{531BFE86-CC09-4574-A6DD-D5A2655A1C29}"/>
          </ac:spMkLst>
        </pc:spChg>
        <pc:spChg chg="mod">
          <ac:chgData name="Mary Lisa Newman" userId="9c8cba21-67a1-4aa9-98ba-c4ca1eda0aa0" providerId="ADAL" clId="{18A2BE10-43E4-4882-A5FB-D00536775DD8}" dt="2020-06-23T22:42:20.713" v="136" actId="13926"/>
          <ac:spMkLst>
            <pc:docMk/>
            <pc:sldMk cId="1714833639" sldId="10605"/>
            <ac:spMk id="51" creationId="{A5F974D8-0B42-4B7B-A81D-AEEA3FBCE027}"/>
          </ac:spMkLst>
        </pc:spChg>
      </pc:sldChg>
      <pc:sldChg chg="modSp">
        <pc:chgData name="Mary Lisa Newman" userId="9c8cba21-67a1-4aa9-98ba-c4ca1eda0aa0" providerId="ADAL" clId="{18A2BE10-43E4-4882-A5FB-D00536775DD8}" dt="2020-06-23T22:56:33.675" v="152" actId="13926"/>
        <pc:sldMkLst>
          <pc:docMk/>
          <pc:sldMk cId="2444020680" sldId="10606"/>
        </pc:sldMkLst>
        <pc:spChg chg="mod">
          <ac:chgData name="Mary Lisa Newman" userId="9c8cba21-67a1-4aa9-98ba-c4ca1eda0aa0" providerId="ADAL" clId="{18A2BE10-43E4-4882-A5FB-D00536775DD8}" dt="2020-06-23T22:43:10.741" v="145" actId="13926"/>
          <ac:spMkLst>
            <pc:docMk/>
            <pc:sldMk cId="2444020680" sldId="10606"/>
            <ac:spMk id="42" creationId="{9FB6FAB5-30D2-4C30-B020-C9B72FD441DA}"/>
          </ac:spMkLst>
        </pc:spChg>
        <pc:spChg chg="mod">
          <ac:chgData name="Mary Lisa Newman" userId="9c8cba21-67a1-4aa9-98ba-c4ca1eda0aa0" providerId="ADAL" clId="{18A2BE10-43E4-4882-A5FB-D00536775DD8}" dt="2020-06-23T22:56:00.995" v="151" actId="13926"/>
          <ac:spMkLst>
            <pc:docMk/>
            <pc:sldMk cId="2444020680" sldId="10606"/>
            <ac:spMk id="57" creationId="{5C41EBA1-5309-464F-AE70-B9852D97078D}"/>
          </ac:spMkLst>
        </pc:spChg>
        <pc:spChg chg="mod">
          <ac:chgData name="Mary Lisa Newman" userId="9c8cba21-67a1-4aa9-98ba-c4ca1eda0aa0" providerId="ADAL" clId="{18A2BE10-43E4-4882-A5FB-D00536775DD8}" dt="2020-06-23T22:56:33.675" v="152" actId="13926"/>
          <ac:spMkLst>
            <pc:docMk/>
            <pc:sldMk cId="2444020680" sldId="10606"/>
            <ac:spMk id="68" creationId="{6742FC15-B3F3-457D-83F5-8F5E4DD72669}"/>
          </ac:spMkLst>
        </pc:spChg>
      </pc:sldChg>
      <pc:sldChg chg="addCm modCm">
        <pc:chgData name="Mary Lisa Newman" userId="9c8cba21-67a1-4aa9-98ba-c4ca1eda0aa0" providerId="ADAL" clId="{18A2BE10-43E4-4882-A5FB-D00536775DD8}" dt="2020-06-23T23:51:37.869" v="170"/>
        <pc:sldMkLst>
          <pc:docMk/>
          <pc:sldMk cId="3581199990" sldId="10611"/>
        </pc:sldMkLst>
      </pc:sldChg>
      <pc:sldChg chg="addCm modCm">
        <pc:chgData name="Mary Lisa Newman" userId="9c8cba21-67a1-4aa9-98ba-c4ca1eda0aa0" providerId="ADAL" clId="{18A2BE10-43E4-4882-A5FB-D00536775DD8}" dt="2020-06-23T23:51:40.681" v="171"/>
        <pc:sldMkLst>
          <pc:docMk/>
          <pc:sldMk cId="1255054906" sldId="10612"/>
        </pc:sldMkLst>
      </pc:sldChg>
      <pc:sldChg chg="addCm modCm">
        <pc:chgData name="Mary Lisa Newman" userId="9c8cba21-67a1-4aa9-98ba-c4ca1eda0aa0" providerId="ADAL" clId="{18A2BE10-43E4-4882-A5FB-D00536775DD8}" dt="2020-06-23T23:51:43.088" v="172"/>
        <pc:sldMkLst>
          <pc:docMk/>
          <pc:sldMk cId="2413753554" sldId="10613"/>
        </pc:sldMkLst>
      </pc:sldChg>
      <pc:sldChg chg="modSp addCm modCm">
        <pc:chgData name="Mary Lisa Newman" userId="9c8cba21-67a1-4aa9-98ba-c4ca1eda0aa0" providerId="ADAL" clId="{18A2BE10-43E4-4882-A5FB-D00536775DD8}" dt="2020-06-23T23:52:15.423" v="174"/>
        <pc:sldMkLst>
          <pc:docMk/>
          <pc:sldMk cId="3325234255" sldId="10870"/>
        </pc:sldMkLst>
        <pc:spChg chg="mod">
          <ac:chgData name="Mary Lisa Newman" userId="9c8cba21-67a1-4aa9-98ba-c4ca1eda0aa0" providerId="ADAL" clId="{18A2BE10-43E4-4882-A5FB-D00536775DD8}" dt="2020-06-23T22:34:36.002" v="63" actId="13926"/>
          <ac:spMkLst>
            <pc:docMk/>
            <pc:sldMk cId="3325234255" sldId="10870"/>
            <ac:spMk id="20" creationId="{B1B51179-1609-4ACB-99CC-D0C6E8C69D50}"/>
          </ac:spMkLst>
        </pc:spChg>
        <pc:spChg chg="mod">
          <ac:chgData name="Mary Lisa Newman" userId="9c8cba21-67a1-4aa9-98ba-c4ca1eda0aa0" providerId="ADAL" clId="{18A2BE10-43E4-4882-A5FB-D00536775DD8}" dt="2020-06-23T22:34:46.110" v="65" actId="13926"/>
          <ac:spMkLst>
            <pc:docMk/>
            <pc:sldMk cId="3325234255" sldId="10870"/>
            <ac:spMk id="21" creationId="{A0E15835-B995-497D-AD70-38CD9F91AFE4}"/>
          </ac:spMkLst>
        </pc:spChg>
      </pc:sldChg>
      <pc:sldChg chg="modSp">
        <pc:chgData name="Mary Lisa Newman" userId="9c8cba21-67a1-4aa9-98ba-c4ca1eda0aa0" providerId="ADAL" clId="{18A2BE10-43E4-4882-A5FB-D00536775DD8}" dt="2020-06-23T22:35:10.064" v="69" actId="13926"/>
        <pc:sldMkLst>
          <pc:docMk/>
          <pc:sldMk cId="3958922467" sldId="10873"/>
        </pc:sldMkLst>
        <pc:spChg chg="mod">
          <ac:chgData name="Mary Lisa Newman" userId="9c8cba21-67a1-4aa9-98ba-c4ca1eda0aa0" providerId="ADAL" clId="{18A2BE10-43E4-4882-A5FB-D00536775DD8}" dt="2020-06-23T22:35:04.208" v="68" actId="13926"/>
          <ac:spMkLst>
            <pc:docMk/>
            <pc:sldMk cId="3958922467" sldId="10873"/>
            <ac:spMk id="20" creationId="{AE99AD1D-D686-4C71-B6EC-B087B6A27CB3}"/>
          </ac:spMkLst>
        </pc:spChg>
        <pc:spChg chg="mod">
          <ac:chgData name="Mary Lisa Newman" userId="9c8cba21-67a1-4aa9-98ba-c4ca1eda0aa0" providerId="ADAL" clId="{18A2BE10-43E4-4882-A5FB-D00536775DD8}" dt="2020-06-23T22:35:10.064" v="69" actId="13926"/>
          <ac:spMkLst>
            <pc:docMk/>
            <pc:sldMk cId="3958922467" sldId="10873"/>
            <ac:spMk id="24" creationId="{3C9ED437-065D-40C0-81D0-CD312CC390E6}"/>
          </ac:spMkLst>
        </pc:spChg>
      </pc:sldChg>
      <pc:sldChg chg="modSp">
        <pc:chgData name="Mary Lisa Newman" userId="9c8cba21-67a1-4aa9-98ba-c4ca1eda0aa0" providerId="ADAL" clId="{18A2BE10-43E4-4882-A5FB-D00536775DD8}" dt="2020-06-23T22:56:57.970" v="155" actId="13926"/>
        <pc:sldMkLst>
          <pc:docMk/>
          <pc:sldMk cId="2459196527" sldId="2076138645"/>
        </pc:sldMkLst>
        <pc:spChg chg="mod">
          <ac:chgData name="Mary Lisa Newman" userId="9c8cba21-67a1-4aa9-98ba-c4ca1eda0aa0" providerId="ADAL" clId="{18A2BE10-43E4-4882-A5FB-D00536775DD8}" dt="2020-06-23T22:56:57.970" v="155" actId="13926"/>
          <ac:spMkLst>
            <pc:docMk/>
            <pc:sldMk cId="2459196527" sldId="2076138645"/>
            <ac:spMk id="4" creationId="{EA2C955B-89B0-48F4-8E80-1D8B023B771D}"/>
          </ac:spMkLst>
        </pc:spChg>
        <pc:spChg chg="mod">
          <ac:chgData name="Mary Lisa Newman" userId="9c8cba21-67a1-4aa9-98ba-c4ca1eda0aa0" providerId="ADAL" clId="{18A2BE10-43E4-4882-A5FB-D00536775DD8}" dt="2020-06-23T22:56:53.179" v="154" actId="20577"/>
          <ac:spMkLst>
            <pc:docMk/>
            <pc:sldMk cId="2459196527" sldId="2076138645"/>
            <ac:spMk id="97" creationId="{85B6D0E2-8706-43D6-9451-833620BB2954}"/>
          </ac:spMkLst>
        </pc:spChg>
      </pc:sldChg>
      <pc:sldChg chg="modSp">
        <pc:chgData name="Mary Lisa Newman" userId="9c8cba21-67a1-4aa9-98ba-c4ca1eda0aa0" providerId="ADAL" clId="{18A2BE10-43E4-4882-A5FB-D00536775DD8}" dt="2020-06-23T22:34:52.410" v="66" actId="13926"/>
        <pc:sldMkLst>
          <pc:docMk/>
          <pc:sldMk cId="527630685" sldId="2076138654"/>
        </pc:sldMkLst>
        <pc:spChg chg="mod">
          <ac:chgData name="Mary Lisa Newman" userId="9c8cba21-67a1-4aa9-98ba-c4ca1eda0aa0" providerId="ADAL" clId="{18A2BE10-43E4-4882-A5FB-D00536775DD8}" dt="2020-06-23T22:34:52.410" v="66" actId="13926"/>
          <ac:spMkLst>
            <pc:docMk/>
            <pc:sldMk cId="527630685" sldId="2076138654"/>
            <ac:spMk id="14" creationId="{48DC6909-1451-403E-AC8B-6155AEF78D58}"/>
          </ac:spMkLst>
        </pc:spChg>
      </pc:sldChg>
      <pc:sldChg chg="modSp">
        <pc:chgData name="Mary Lisa Newman" userId="9c8cba21-67a1-4aa9-98ba-c4ca1eda0aa0" providerId="ADAL" clId="{18A2BE10-43E4-4882-A5FB-D00536775DD8}" dt="2020-06-23T22:39:57.816" v="117" actId="13926"/>
        <pc:sldMkLst>
          <pc:docMk/>
          <pc:sldMk cId="1536175566" sldId="2076138655"/>
        </pc:sldMkLst>
        <pc:spChg chg="mod">
          <ac:chgData name="Mary Lisa Newman" userId="9c8cba21-67a1-4aa9-98ba-c4ca1eda0aa0" providerId="ADAL" clId="{18A2BE10-43E4-4882-A5FB-D00536775DD8}" dt="2020-06-23T22:39:24.907" v="109" actId="13926"/>
          <ac:spMkLst>
            <pc:docMk/>
            <pc:sldMk cId="1536175566" sldId="2076138655"/>
            <ac:spMk id="27" creationId="{9B372AE0-947A-4D94-BC54-802CA83A8F23}"/>
          </ac:spMkLst>
        </pc:spChg>
        <pc:spChg chg="mod">
          <ac:chgData name="Mary Lisa Newman" userId="9c8cba21-67a1-4aa9-98ba-c4ca1eda0aa0" providerId="ADAL" clId="{18A2BE10-43E4-4882-A5FB-D00536775DD8}" dt="2020-06-23T22:39:36.140" v="112" actId="13926"/>
          <ac:spMkLst>
            <pc:docMk/>
            <pc:sldMk cId="1536175566" sldId="2076138655"/>
            <ac:spMk id="40" creationId="{1AF22914-DEDE-4CF6-8CF2-1803CDF0608E}"/>
          </ac:spMkLst>
        </pc:spChg>
        <pc:spChg chg="mod">
          <ac:chgData name="Mary Lisa Newman" userId="9c8cba21-67a1-4aa9-98ba-c4ca1eda0aa0" providerId="ADAL" clId="{18A2BE10-43E4-4882-A5FB-D00536775DD8}" dt="2020-06-23T22:39:51.826" v="116" actId="13926"/>
          <ac:spMkLst>
            <pc:docMk/>
            <pc:sldMk cId="1536175566" sldId="2076138655"/>
            <ac:spMk id="42" creationId="{E12EC0E2-C801-40D2-8B8F-6F79633AB918}"/>
          </ac:spMkLst>
        </pc:spChg>
        <pc:spChg chg="mod">
          <ac:chgData name="Mary Lisa Newman" userId="9c8cba21-67a1-4aa9-98ba-c4ca1eda0aa0" providerId="ADAL" clId="{18A2BE10-43E4-4882-A5FB-D00536775DD8}" dt="2020-06-23T22:39:57.816" v="117" actId="13926"/>
          <ac:spMkLst>
            <pc:docMk/>
            <pc:sldMk cId="1536175566" sldId="2076138655"/>
            <ac:spMk id="53" creationId="{EDDB9C3B-92E9-4F10-9999-9E02581EA469}"/>
          </ac:spMkLst>
        </pc:spChg>
      </pc:sldChg>
      <pc:sldChg chg="modSp addCm modCm">
        <pc:chgData name="Mary Lisa Newman" userId="9c8cba21-67a1-4aa9-98ba-c4ca1eda0aa0" providerId="ADAL" clId="{18A2BE10-43E4-4882-A5FB-D00536775DD8}" dt="2020-06-23T23:52:03.542" v="173"/>
        <pc:sldMkLst>
          <pc:docMk/>
          <pc:sldMk cId="3265032009" sldId="2076138658"/>
        </pc:sldMkLst>
        <pc:spChg chg="mod">
          <ac:chgData name="Mary Lisa Newman" userId="9c8cba21-67a1-4aa9-98ba-c4ca1eda0aa0" providerId="ADAL" clId="{18A2BE10-43E4-4882-A5FB-D00536775DD8}" dt="2020-06-23T22:35:21.636" v="71" actId="13926"/>
          <ac:spMkLst>
            <pc:docMk/>
            <pc:sldMk cId="3265032009" sldId="2076138658"/>
            <ac:spMk id="19" creationId="{9E405C66-9262-49D9-9C6F-CF1F86491103}"/>
          </ac:spMkLst>
        </pc:spChg>
        <pc:spChg chg="mod">
          <ac:chgData name="Mary Lisa Newman" userId="9c8cba21-67a1-4aa9-98ba-c4ca1eda0aa0" providerId="ADAL" clId="{18A2BE10-43E4-4882-A5FB-D00536775DD8}" dt="2020-06-23T22:35:28.149" v="72" actId="13926"/>
          <ac:spMkLst>
            <pc:docMk/>
            <pc:sldMk cId="3265032009" sldId="2076138658"/>
            <ac:spMk id="21" creationId="{848655BC-3E64-4B6A-AC4B-9C6634B1556E}"/>
          </ac:spMkLst>
        </pc:spChg>
      </pc:sldChg>
      <pc:sldChg chg="modSp">
        <pc:chgData name="Mary Lisa Newman" userId="9c8cba21-67a1-4aa9-98ba-c4ca1eda0aa0" providerId="ADAL" clId="{18A2BE10-43E4-4882-A5FB-D00536775DD8}" dt="2020-06-23T22:56:46.050" v="153" actId="13926"/>
        <pc:sldMkLst>
          <pc:docMk/>
          <pc:sldMk cId="1763101373" sldId="2076138662"/>
        </pc:sldMkLst>
        <pc:spChg chg="mod">
          <ac:chgData name="Mary Lisa Newman" userId="9c8cba21-67a1-4aa9-98ba-c4ca1eda0aa0" providerId="ADAL" clId="{18A2BE10-43E4-4882-A5FB-D00536775DD8}" dt="2020-06-23T22:56:46.050" v="153" actId="13926"/>
          <ac:spMkLst>
            <pc:docMk/>
            <pc:sldMk cId="1763101373" sldId="2076138662"/>
            <ac:spMk id="4" creationId="{3764A4E6-3ADF-4330-B9ED-41343B65D763}"/>
          </ac:spMkLst>
        </pc:spChg>
      </pc:sldChg>
      <pc:sldChg chg="modSp">
        <pc:chgData name="Mary Lisa Newman" userId="9c8cba21-67a1-4aa9-98ba-c4ca1eda0aa0" providerId="ADAL" clId="{18A2BE10-43E4-4882-A5FB-D00536775DD8}" dt="2020-06-23T22:39:05.738" v="106" actId="13926"/>
        <pc:sldMkLst>
          <pc:docMk/>
          <pc:sldMk cId="0" sldId="2076138663"/>
        </pc:sldMkLst>
        <pc:spChg chg="mod">
          <ac:chgData name="Mary Lisa Newman" userId="9c8cba21-67a1-4aa9-98ba-c4ca1eda0aa0" providerId="ADAL" clId="{18A2BE10-43E4-4882-A5FB-D00536775DD8}" dt="2020-06-23T22:38:15.787" v="96" actId="13926"/>
          <ac:spMkLst>
            <pc:docMk/>
            <pc:sldMk cId="0" sldId="2076138663"/>
            <ac:spMk id="32" creationId="{55847341-7364-4EF1-B33B-CAB5839E8ACE}"/>
          </ac:spMkLst>
        </pc:spChg>
        <pc:spChg chg="mod">
          <ac:chgData name="Mary Lisa Newman" userId="9c8cba21-67a1-4aa9-98ba-c4ca1eda0aa0" providerId="ADAL" clId="{18A2BE10-43E4-4882-A5FB-D00536775DD8}" dt="2020-06-23T22:38:19.304" v="97" actId="13926"/>
          <ac:spMkLst>
            <pc:docMk/>
            <pc:sldMk cId="0" sldId="2076138663"/>
            <ac:spMk id="33" creationId="{DB95B0EA-4566-461F-B1A3-953C96BE9CA5}"/>
          </ac:spMkLst>
        </pc:spChg>
        <pc:spChg chg="mod">
          <ac:chgData name="Mary Lisa Newman" userId="9c8cba21-67a1-4aa9-98ba-c4ca1eda0aa0" providerId="ADAL" clId="{18A2BE10-43E4-4882-A5FB-D00536775DD8}" dt="2020-06-23T22:38:57.457" v="104" actId="13926"/>
          <ac:spMkLst>
            <pc:docMk/>
            <pc:sldMk cId="0" sldId="2076138663"/>
            <ac:spMk id="36" creationId="{E5D89D34-E362-4788-83B1-F29D57A7E7B4}"/>
          </ac:spMkLst>
        </pc:spChg>
        <pc:spChg chg="mod">
          <ac:chgData name="Mary Lisa Newman" userId="9c8cba21-67a1-4aa9-98ba-c4ca1eda0aa0" providerId="ADAL" clId="{18A2BE10-43E4-4882-A5FB-D00536775DD8}" dt="2020-06-23T22:39:05.738" v="106" actId="13926"/>
          <ac:spMkLst>
            <pc:docMk/>
            <pc:sldMk cId="0" sldId="2076138663"/>
            <ac:spMk id="37" creationId="{167020C5-8C35-43B6-A577-B452CD027AD0}"/>
          </ac:spMkLst>
        </pc:spChg>
        <pc:spChg chg="mod">
          <ac:chgData name="Mary Lisa Newman" userId="9c8cba21-67a1-4aa9-98ba-c4ca1eda0aa0" providerId="ADAL" clId="{18A2BE10-43E4-4882-A5FB-D00536775DD8}" dt="2020-06-23T22:38:35.264" v="100" actId="13926"/>
          <ac:spMkLst>
            <pc:docMk/>
            <pc:sldMk cId="0" sldId="2076138663"/>
            <ac:spMk id="38" creationId="{7F1CF928-66DD-4CF2-ADD2-6127294A29EB}"/>
          </ac:spMkLst>
        </pc:spChg>
        <pc:spChg chg="mod">
          <ac:chgData name="Mary Lisa Newman" userId="9c8cba21-67a1-4aa9-98ba-c4ca1eda0aa0" providerId="ADAL" clId="{18A2BE10-43E4-4882-A5FB-D00536775DD8}" dt="2020-06-23T22:38:28.641" v="99" actId="13926"/>
          <ac:spMkLst>
            <pc:docMk/>
            <pc:sldMk cId="0" sldId="2076138663"/>
            <ac:spMk id="48" creationId="{15B1B9A1-3987-4741-B95E-0FB52B0176D2}"/>
          </ac:spMkLst>
        </pc:spChg>
      </pc:sldChg>
      <pc:sldChg chg="modSp">
        <pc:chgData name="Mary Lisa Newman" userId="9c8cba21-67a1-4aa9-98ba-c4ca1eda0aa0" providerId="ADAL" clId="{18A2BE10-43E4-4882-A5FB-D00536775DD8}" dt="2020-06-23T22:26:06.982" v="0" actId="13926"/>
        <pc:sldMkLst>
          <pc:docMk/>
          <pc:sldMk cId="3708918714" sldId="2076138665"/>
        </pc:sldMkLst>
        <pc:spChg chg="mod">
          <ac:chgData name="Mary Lisa Newman" userId="9c8cba21-67a1-4aa9-98ba-c4ca1eda0aa0" providerId="ADAL" clId="{18A2BE10-43E4-4882-A5FB-D00536775DD8}" dt="2020-06-23T22:26:06.982" v="0" actId="13926"/>
          <ac:spMkLst>
            <pc:docMk/>
            <pc:sldMk cId="3708918714" sldId="2076138665"/>
            <ac:spMk id="24" creationId="{00000000-0000-0000-0000-000000000000}"/>
          </ac:spMkLst>
        </pc:spChg>
      </pc:sldChg>
      <pc:sldChg chg="modSp">
        <pc:chgData name="Mary Lisa Newman" userId="9c8cba21-67a1-4aa9-98ba-c4ca1eda0aa0" providerId="ADAL" clId="{18A2BE10-43E4-4882-A5FB-D00536775DD8}" dt="2020-06-23T22:30:39.860" v="28" actId="20577"/>
        <pc:sldMkLst>
          <pc:docMk/>
          <pc:sldMk cId="2521209070" sldId="2076138688"/>
        </pc:sldMkLst>
        <pc:spChg chg="mod">
          <ac:chgData name="Mary Lisa Newman" userId="9c8cba21-67a1-4aa9-98ba-c4ca1eda0aa0" providerId="ADAL" clId="{18A2BE10-43E4-4882-A5FB-D00536775DD8}" dt="2020-06-23T22:30:39.860" v="28" actId="20577"/>
          <ac:spMkLst>
            <pc:docMk/>
            <pc:sldMk cId="2521209070" sldId="2076138688"/>
            <ac:spMk id="66" creationId="{1022224B-E474-4B06-B472-0C8B487D3318}"/>
          </ac:spMkLst>
        </pc:spChg>
        <pc:spChg chg="mod">
          <ac:chgData name="Mary Lisa Newman" userId="9c8cba21-67a1-4aa9-98ba-c4ca1eda0aa0" providerId="ADAL" clId="{18A2BE10-43E4-4882-A5FB-D00536775DD8}" dt="2020-06-23T22:30:31.039" v="26" actId="20577"/>
          <ac:spMkLst>
            <pc:docMk/>
            <pc:sldMk cId="2521209070" sldId="2076138688"/>
            <ac:spMk id="67" creationId="{2556FC91-CC59-485E-9E80-00E82BCDE111}"/>
          </ac:spMkLst>
        </pc:spChg>
        <pc:spChg chg="mod">
          <ac:chgData name="Mary Lisa Newman" userId="9c8cba21-67a1-4aa9-98ba-c4ca1eda0aa0" providerId="ADAL" clId="{18A2BE10-43E4-4882-A5FB-D00536775DD8}" dt="2020-06-23T22:30:25.962" v="23" actId="20577"/>
          <ac:spMkLst>
            <pc:docMk/>
            <pc:sldMk cId="2521209070" sldId="2076138688"/>
            <ac:spMk id="69" creationId="{5BCB913A-6560-431B-A93D-B09C8F7056E2}"/>
          </ac:spMkLst>
        </pc:spChg>
      </pc:sldChg>
      <pc:sldChg chg="modSp">
        <pc:chgData name="Mary Lisa Newman" userId="9c8cba21-67a1-4aa9-98ba-c4ca1eda0aa0" providerId="ADAL" clId="{18A2BE10-43E4-4882-A5FB-D00536775DD8}" dt="2020-06-23T22:59:14.455" v="157" actId="13926"/>
        <pc:sldMkLst>
          <pc:docMk/>
          <pc:sldMk cId="2540817366" sldId="2076138690"/>
        </pc:sldMkLst>
        <pc:spChg chg="mod">
          <ac:chgData name="Mary Lisa Newman" userId="9c8cba21-67a1-4aa9-98ba-c4ca1eda0aa0" providerId="ADAL" clId="{18A2BE10-43E4-4882-A5FB-D00536775DD8}" dt="2020-06-23T22:59:14.455" v="157" actId="13926"/>
          <ac:spMkLst>
            <pc:docMk/>
            <pc:sldMk cId="2540817366" sldId="2076138690"/>
            <ac:spMk id="2" creationId="{311B7463-5F5E-4FAC-80E9-784891EE89CD}"/>
          </ac:spMkLst>
        </pc:spChg>
      </pc:sldChg>
      <pc:sldChg chg="modSp">
        <pc:chgData name="Mary Lisa Newman" userId="9c8cba21-67a1-4aa9-98ba-c4ca1eda0aa0" providerId="ADAL" clId="{18A2BE10-43E4-4882-A5FB-D00536775DD8}" dt="2020-06-23T22:58:57.061" v="156" actId="13926"/>
        <pc:sldMkLst>
          <pc:docMk/>
          <pc:sldMk cId="3462066453" sldId="2076138691"/>
        </pc:sldMkLst>
        <pc:spChg chg="mod">
          <ac:chgData name="Mary Lisa Newman" userId="9c8cba21-67a1-4aa9-98ba-c4ca1eda0aa0" providerId="ADAL" clId="{18A2BE10-43E4-4882-A5FB-D00536775DD8}" dt="2020-06-23T22:30:15.604" v="20" actId="13926"/>
          <ac:spMkLst>
            <pc:docMk/>
            <pc:sldMk cId="3462066453" sldId="2076138691"/>
            <ac:spMk id="27" creationId="{D2FCAC5A-73B0-4947-9706-B40200B1BA68}"/>
          </ac:spMkLst>
        </pc:spChg>
        <pc:spChg chg="mod">
          <ac:chgData name="Mary Lisa Newman" userId="9c8cba21-67a1-4aa9-98ba-c4ca1eda0aa0" providerId="ADAL" clId="{18A2BE10-43E4-4882-A5FB-D00536775DD8}" dt="2020-06-23T22:30:15.173" v="19" actId="13926"/>
          <ac:spMkLst>
            <pc:docMk/>
            <pc:sldMk cId="3462066453" sldId="2076138691"/>
            <ac:spMk id="28" creationId="{1E4EC704-D16E-469B-BA2F-B84B40F5D116}"/>
          </ac:spMkLst>
        </pc:spChg>
        <pc:spChg chg="mod">
          <ac:chgData name="Mary Lisa Newman" userId="9c8cba21-67a1-4aa9-98ba-c4ca1eda0aa0" providerId="ADAL" clId="{18A2BE10-43E4-4882-A5FB-D00536775DD8}" dt="2020-06-23T22:30:14.793" v="18" actId="13926"/>
          <ac:spMkLst>
            <pc:docMk/>
            <pc:sldMk cId="3462066453" sldId="2076138691"/>
            <ac:spMk id="49" creationId="{163639F7-B1D3-45E4-901B-4D6764399CCF}"/>
          </ac:spMkLst>
        </pc:spChg>
        <pc:spChg chg="mod">
          <ac:chgData name="Mary Lisa Newman" userId="9c8cba21-67a1-4aa9-98ba-c4ca1eda0aa0" providerId="ADAL" clId="{18A2BE10-43E4-4882-A5FB-D00536775DD8}" dt="2020-06-23T22:30:14.358" v="17" actId="13926"/>
          <ac:spMkLst>
            <pc:docMk/>
            <pc:sldMk cId="3462066453" sldId="2076138691"/>
            <ac:spMk id="50" creationId="{1BFEBBB4-5B3E-421F-AC3A-3A4D88773D1E}"/>
          </ac:spMkLst>
        </pc:spChg>
        <pc:spChg chg="mod">
          <ac:chgData name="Mary Lisa Newman" userId="9c8cba21-67a1-4aa9-98ba-c4ca1eda0aa0" providerId="ADAL" clId="{18A2BE10-43E4-4882-A5FB-D00536775DD8}" dt="2020-06-23T22:58:57.061" v="156" actId="13926"/>
          <ac:spMkLst>
            <pc:docMk/>
            <pc:sldMk cId="3462066453" sldId="2076138691"/>
            <ac:spMk id="54" creationId="{883F2707-EAC1-4E39-863E-CDB84C59BF56}"/>
          </ac:spMkLst>
        </pc:spChg>
      </pc:sldChg>
      <pc:sldChg chg="modSp">
        <pc:chgData name="Mary Lisa Newman" userId="9c8cba21-67a1-4aa9-98ba-c4ca1eda0aa0" providerId="ADAL" clId="{18A2BE10-43E4-4882-A5FB-D00536775DD8}" dt="2020-06-23T22:31:12.877" v="32" actId="13926"/>
        <pc:sldMkLst>
          <pc:docMk/>
          <pc:sldMk cId="2169715888" sldId="2076138692"/>
        </pc:sldMkLst>
        <pc:spChg chg="mod">
          <ac:chgData name="Mary Lisa Newman" userId="9c8cba21-67a1-4aa9-98ba-c4ca1eda0aa0" providerId="ADAL" clId="{18A2BE10-43E4-4882-A5FB-D00536775DD8}" dt="2020-06-23T22:30:53.915" v="29" actId="13926"/>
          <ac:spMkLst>
            <pc:docMk/>
            <pc:sldMk cId="2169715888" sldId="2076138692"/>
            <ac:spMk id="23" creationId="{FEBB921F-697D-4448-9539-C6C64BC5E159}"/>
          </ac:spMkLst>
        </pc:spChg>
        <pc:spChg chg="mod">
          <ac:chgData name="Mary Lisa Newman" userId="9c8cba21-67a1-4aa9-98ba-c4ca1eda0aa0" providerId="ADAL" clId="{18A2BE10-43E4-4882-A5FB-D00536775DD8}" dt="2020-06-23T22:31:09.137" v="31" actId="13926"/>
          <ac:spMkLst>
            <pc:docMk/>
            <pc:sldMk cId="2169715888" sldId="2076138692"/>
            <ac:spMk id="27" creationId="{2B2CEAAB-4F56-4F60-81EF-21DBA8F734CE}"/>
          </ac:spMkLst>
        </pc:spChg>
        <pc:spChg chg="mod">
          <ac:chgData name="Mary Lisa Newman" userId="9c8cba21-67a1-4aa9-98ba-c4ca1eda0aa0" providerId="ADAL" clId="{18A2BE10-43E4-4882-A5FB-D00536775DD8}" dt="2020-06-23T22:31:12.877" v="32" actId="13926"/>
          <ac:spMkLst>
            <pc:docMk/>
            <pc:sldMk cId="2169715888" sldId="2076138692"/>
            <ac:spMk id="28" creationId="{ECABFFDF-00F5-4AD3-A523-51F0B4697BCD}"/>
          </ac:spMkLst>
        </pc:spChg>
      </pc:sldChg>
      <pc:sldChg chg="modSp">
        <pc:chgData name="Mary Lisa Newman" userId="9c8cba21-67a1-4aa9-98ba-c4ca1eda0aa0" providerId="ADAL" clId="{18A2BE10-43E4-4882-A5FB-D00536775DD8}" dt="2020-06-23T22:31:35.196" v="34" actId="13926"/>
        <pc:sldMkLst>
          <pc:docMk/>
          <pc:sldMk cId="2889758978" sldId="2076138694"/>
        </pc:sldMkLst>
        <pc:spChg chg="mod">
          <ac:chgData name="Mary Lisa Newman" userId="9c8cba21-67a1-4aa9-98ba-c4ca1eda0aa0" providerId="ADAL" clId="{18A2BE10-43E4-4882-A5FB-D00536775DD8}" dt="2020-06-23T22:31:35.196" v="34" actId="13926"/>
          <ac:spMkLst>
            <pc:docMk/>
            <pc:sldMk cId="2889758978" sldId="2076138694"/>
            <ac:spMk id="27" creationId="{3B6F4DAC-3FB1-45F0-A63B-25FAF0451B83}"/>
          </ac:spMkLst>
        </pc:spChg>
        <pc:spChg chg="mod">
          <ac:chgData name="Mary Lisa Newman" userId="9c8cba21-67a1-4aa9-98ba-c4ca1eda0aa0" providerId="ADAL" clId="{18A2BE10-43E4-4882-A5FB-D00536775DD8}" dt="2020-06-23T22:31:31.848" v="33" actId="13926"/>
          <ac:spMkLst>
            <pc:docMk/>
            <pc:sldMk cId="2889758978" sldId="2076138694"/>
            <ac:spMk id="28" creationId="{EC5B1361-DB3A-48FA-972B-35BC549C8EBF}"/>
          </ac:spMkLst>
        </pc:spChg>
      </pc:sldChg>
      <pc:sldChg chg="modSp">
        <pc:chgData name="Mary Lisa Newman" userId="9c8cba21-67a1-4aa9-98ba-c4ca1eda0aa0" providerId="ADAL" clId="{18A2BE10-43E4-4882-A5FB-D00536775DD8}" dt="2020-06-23T22:31:44.497" v="35" actId="13926"/>
        <pc:sldMkLst>
          <pc:docMk/>
          <pc:sldMk cId="1923306787" sldId="2076138695"/>
        </pc:sldMkLst>
        <pc:spChg chg="mod">
          <ac:chgData name="Mary Lisa Newman" userId="9c8cba21-67a1-4aa9-98ba-c4ca1eda0aa0" providerId="ADAL" clId="{18A2BE10-43E4-4882-A5FB-D00536775DD8}" dt="2020-06-23T22:31:44.497" v="35" actId="13926"/>
          <ac:spMkLst>
            <pc:docMk/>
            <pc:sldMk cId="1923306787" sldId="2076138695"/>
            <ac:spMk id="26" creationId="{AE4D7CC4-A153-4D2B-BF6B-FEC27CEC8551}"/>
          </ac:spMkLst>
        </pc:spChg>
      </pc:sldChg>
      <pc:sldChg chg="modSp">
        <pc:chgData name="Mary Lisa Newman" userId="9c8cba21-67a1-4aa9-98ba-c4ca1eda0aa0" providerId="ADAL" clId="{18A2BE10-43E4-4882-A5FB-D00536775DD8}" dt="2020-06-23T22:31:58.004" v="38" actId="13926"/>
        <pc:sldMkLst>
          <pc:docMk/>
          <pc:sldMk cId="3048428055" sldId="2076138696"/>
        </pc:sldMkLst>
        <pc:spChg chg="mod">
          <ac:chgData name="Mary Lisa Newman" userId="9c8cba21-67a1-4aa9-98ba-c4ca1eda0aa0" providerId="ADAL" clId="{18A2BE10-43E4-4882-A5FB-D00536775DD8}" dt="2020-06-23T22:31:52.860" v="36" actId="13926"/>
          <ac:spMkLst>
            <pc:docMk/>
            <pc:sldMk cId="3048428055" sldId="2076138696"/>
            <ac:spMk id="44" creationId="{EDF97E9F-14B4-442E-A569-82B1B4C44557}"/>
          </ac:spMkLst>
        </pc:spChg>
        <pc:spChg chg="mod">
          <ac:chgData name="Mary Lisa Newman" userId="9c8cba21-67a1-4aa9-98ba-c4ca1eda0aa0" providerId="ADAL" clId="{18A2BE10-43E4-4882-A5FB-D00536775DD8}" dt="2020-06-23T22:31:55.670" v="37" actId="13926"/>
          <ac:spMkLst>
            <pc:docMk/>
            <pc:sldMk cId="3048428055" sldId="2076138696"/>
            <ac:spMk id="45" creationId="{5E5B6C6A-51CA-43EC-9A38-DBBA99624DFB}"/>
          </ac:spMkLst>
        </pc:spChg>
        <pc:spChg chg="mod">
          <ac:chgData name="Mary Lisa Newman" userId="9c8cba21-67a1-4aa9-98ba-c4ca1eda0aa0" providerId="ADAL" clId="{18A2BE10-43E4-4882-A5FB-D00536775DD8}" dt="2020-06-23T22:31:58.004" v="38" actId="13926"/>
          <ac:spMkLst>
            <pc:docMk/>
            <pc:sldMk cId="3048428055" sldId="2076138696"/>
            <ac:spMk id="46" creationId="{C091AB6E-D4B7-4DD9-9BF0-E2C9118E9F89}"/>
          </ac:spMkLst>
        </pc:spChg>
      </pc:sldChg>
      <pc:sldChg chg="modSp addCm modCm">
        <pc:chgData name="Mary Lisa Newman" userId="9c8cba21-67a1-4aa9-98ba-c4ca1eda0aa0" providerId="ADAL" clId="{18A2BE10-43E4-4882-A5FB-D00536775DD8}" dt="2020-06-23T22:27:00.688" v="4"/>
        <pc:sldMkLst>
          <pc:docMk/>
          <pc:sldMk cId="2301707706" sldId="2076138703"/>
        </pc:sldMkLst>
        <pc:spChg chg="mod">
          <ac:chgData name="Mary Lisa Newman" userId="9c8cba21-67a1-4aa9-98ba-c4ca1eda0aa0" providerId="ADAL" clId="{18A2BE10-43E4-4882-A5FB-D00536775DD8}" dt="2020-06-23T22:26:19.325" v="2" actId="13926"/>
          <ac:spMkLst>
            <pc:docMk/>
            <pc:sldMk cId="2301707706" sldId="2076138703"/>
            <ac:spMk id="11" creationId="{7D33A5AE-78BE-480C-8300-AEED16C36870}"/>
          </ac:spMkLst>
        </pc:spChg>
      </pc:sldChg>
      <pc:sldChg chg="modSp">
        <pc:chgData name="Mary Lisa Newman" userId="9c8cba21-67a1-4aa9-98ba-c4ca1eda0aa0" providerId="ADAL" clId="{18A2BE10-43E4-4882-A5FB-D00536775DD8}" dt="2020-06-23T22:34:10.375" v="61" actId="13926"/>
        <pc:sldMkLst>
          <pc:docMk/>
          <pc:sldMk cId="3931172874" sldId="2076138705"/>
        </pc:sldMkLst>
        <pc:spChg chg="mod">
          <ac:chgData name="Mary Lisa Newman" userId="9c8cba21-67a1-4aa9-98ba-c4ca1eda0aa0" providerId="ADAL" clId="{18A2BE10-43E4-4882-A5FB-D00536775DD8}" dt="2020-06-23T22:34:05.913" v="60" actId="13926"/>
          <ac:spMkLst>
            <pc:docMk/>
            <pc:sldMk cId="3931172874" sldId="2076138705"/>
            <ac:spMk id="20" creationId="{EAC39767-C36C-4163-AFE8-8190973B0F39}"/>
          </ac:spMkLst>
        </pc:spChg>
        <pc:spChg chg="mod">
          <ac:chgData name="Mary Lisa Newman" userId="9c8cba21-67a1-4aa9-98ba-c4ca1eda0aa0" providerId="ADAL" clId="{18A2BE10-43E4-4882-A5FB-D00536775DD8}" dt="2020-06-23T22:34:10.375" v="61" actId="13926"/>
          <ac:spMkLst>
            <pc:docMk/>
            <pc:sldMk cId="3931172874" sldId="2076138705"/>
            <ac:spMk id="26" creationId="{8911E76D-2E01-4043-93EC-FF38816591C0}"/>
          </ac:spMkLst>
        </pc:spChg>
      </pc:sldChg>
      <pc:sldChg chg="modSp">
        <pc:chgData name="Mary Lisa Newman" userId="9c8cba21-67a1-4aa9-98ba-c4ca1eda0aa0" providerId="ADAL" clId="{18A2BE10-43E4-4882-A5FB-D00536775DD8}" dt="2020-06-23T22:34:41.503" v="64" actId="13926"/>
        <pc:sldMkLst>
          <pc:docMk/>
          <pc:sldMk cId="3738456975" sldId="2076138706"/>
        </pc:sldMkLst>
        <pc:spChg chg="mod">
          <ac:chgData name="Mary Lisa Newman" userId="9c8cba21-67a1-4aa9-98ba-c4ca1eda0aa0" providerId="ADAL" clId="{18A2BE10-43E4-4882-A5FB-D00536775DD8}" dt="2020-06-23T22:34:28.541" v="62" actId="13926"/>
          <ac:spMkLst>
            <pc:docMk/>
            <pc:sldMk cId="3738456975" sldId="2076138706"/>
            <ac:spMk id="20" creationId="{EAC39767-C36C-4163-AFE8-8190973B0F39}"/>
          </ac:spMkLst>
        </pc:spChg>
        <pc:spChg chg="mod">
          <ac:chgData name="Mary Lisa Newman" userId="9c8cba21-67a1-4aa9-98ba-c4ca1eda0aa0" providerId="ADAL" clId="{18A2BE10-43E4-4882-A5FB-D00536775DD8}" dt="2020-06-23T22:34:41.503" v="64" actId="13926"/>
          <ac:spMkLst>
            <pc:docMk/>
            <pc:sldMk cId="3738456975" sldId="2076138706"/>
            <ac:spMk id="22" creationId="{793D4A78-0C36-4B71-A64A-4741E9E82647}"/>
          </ac:spMkLst>
        </pc:spChg>
      </pc:sldChg>
      <pc:sldChg chg="modSp">
        <pc:chgData name="Mary Lisa Newman" userId="9c8cba21-67a1-4aa9-98ba-c4ca1eda0aa0" providerId="ADAL" clId="{18A2BE10-43E4-4882-A5FB-D00536775DD8}" dt="2020-06-23T22:33:53.324" v="58" actId="13926"/>
        <pc:sldMkLst>
          <pc:docMk/>
          <pc:sldMk cId="360490318" sldId="2076138707"/>
        </pc:sldMkLst>
        <pc:spChg chg="mod">
          <ac:chgData name="Mary Lisa Newman" userId="9c8cba21-67a1-4aa9-98ba-c4ca1eda0aa0" providerId="ADAL" clId="{18A2BE10-43E4-4882-A5FB-D00536775DD8}" dt="2020-06-23T22:33:13.756" v="52" actId="13926"/>
          <ac:spMkLst>
            <pc:docMk/>
            <pc:sldMk cId="360490318" sldId="2076138707"/>
            <ac:spMk id="2" creationId="{13286E30-31AA-4456-BCA3-3F3AF807C5C8}"/>
          </ac:spMkLst>
        </pc:spChg>
        <pc:spChg chg="mod">
          <ac:chgData name="Mary Lisa Newman" userId="9c8cba21-67a1-4aa9-98ba-c4ca1eda0aa0" providerId="ADAL" clId="{18A2BE10-43E4-4882-A5FB-D00536775DD8}" dt="2020-06-23T22:33:53.324" v="58" actId="13926"/>
          <ac:spMkLst>
            <pc:docMk/>
            <pc:sldMk cId="360490318" sldId="2076138707"/>
            <ac:spMk id="25" creationId="{E5125A00-3D78-43BB-80C1-73FF889956B0}"/>
          </ac:spMkLst>
        </pc:spChg>
      </pc:sldChg>
    </pc:docChg>
  </pc:docChgLst>
  <pc:docChgLst>
    <pc:chgData name="Julie Campbell" userId="S::juliec@audienz.com::df5086f6-13ed-4e69-b43c-17720522b05d" providerId="AD" clId="Web-{E43DB6EA-01AD-F658-1084-376FB4668AEE}"/>
    <pc:docChg chg="modSld">
      <pc:chgData name="Julie Campbell" userId="S::juliec@audienz.com::df5086f6-13ed-4e69-b43c-17720522b05d" providerId="AD" clId="Web-{E43DB6EA-01AD-F658-1084-376FB4668AEE}" dt="2020-07-29T22:03:33.384" v="394" actId="20577"/>
      <pc:docMkLst>
        <pc:docMk/>
      </pc:docMkLst>
      <pc:sldChg chg="modSp">
        <pc:chgData name="Julie Campbell" userId="S::juliec@audienz.com::df5086f6-13ed-4e69-b43c-17720522b05d" providerId="AD" clId="Web-{E43DB6EA-01AD-F658-1084-376FB4668AEE}" dt="2020-07-29T22:00:00.669" v="143" actId="20577"/>
        <pc:sldMkLst>
          <pc:docMk/>
          <pc:sldMk cId="0" sldId="267"/>
        </pc:sldMkLst>
        <pc:spChg chg="mod">
          <ac:chgData name="Julie Campbell" userId="S::juliec@audienz.com::df5086f6-13ed-4e69-b43c-17720522b05d" providerId="AD" clId="Web-{E43DB6EA-01AD-F658-1084-376FB4668AEE}" dt="2020-07-29T22:00:00.513" v="137" actId="20577"/>
          <ac:spMkLst>
            <pc:docMk/>
            <pc:sldMk cId="0" sldId="267"/>
            <ac:spMk id="26" creationId="{811F95DA-6250-47FB-B96E-7CF854C3FEC9}"/>
          </ac:spMkLst>
        </pc:spChg>
        <pc:spChg chg="mod">
          <ac:chgData name="Julie Campbell" userId="S::juliec@audienz.com::df5086f6-13ed-4e69-b43c-17720522b05d" providerId="AD" clId="Web-{E43DB6EA-01AD-F658-1084-376FB4668AEE}" dt="2020-07-29T22:00:00.544" v="138" actId="20577"/>
          <ac:spMkLst>
            <pc:docMk/>
            <pc:sldMk cId="0" sldId="267"/>
            <ac:spMk id="29" creationId="{2CA6D14C-A423-4E94-BBA8-CC186C87B5F4}"/>
          </ac:spMkLst>
        </pc:spChg>
        <pc:spChg chg="mod">
          <ac:chgData name="Julie Campbell" userId="S::juliec@audienz.com::df5086f6-13ed-4e69-b43c-17720522b05d" providerId="AD" clId="Web-{E43DB6EA-01AD-F658-1084-376FB4668AEE}" dt="2020-07-29T22:00:00.559" v="139" actId="20577"/>
          <ac:spMkLst>
            <pc:docMk/>
            <pc:sldMk cId="0" sldId="267"/>
            <ac:spMk id="31" creationId="{6EEF2F09-579B-4A79-8E84-C558AE87AF5F}"/>
          </ac:spMkLst>
        </pc:spChg>
        <pc:spChg chg="mod">
          <ac:chgData name="Julie Campbell" userId="S::juliec@audienz.com::df5086f6-13ed-4e69-b43c-17720522b05d" providerId="AD" clId="Web-{E43DB6EA-01AD-F658-1084-376FB4668AEE}" dt="2020-07-29T22:00:00.591" v="140" actId="20577"/>
          <ac:spMkLst>
            <pc:docMk/>
            <pc:sldMk cId="0" sldId="267"/>
            <ac:spMk id="32" creationId="{9628719E-70BB-43F6-B26E-C0BE669CC7E0}"/>
          </ac:spMkLst>
        </pc:spChg>
        <pc:spChg chg="mod">
          <ac:chgData name="Julie Campbell" userId="S::juliec@audienz.com::df5086f6-13ed-4e69-b43c-17720522b05d" providerId="AD" clId="Web-{E43DB6EA-01AD-F658-1084-376FB4668AEE}" dt="2020-07-29T22:00:00.606" v="141" actId="20577"/>
          <ac:spMkLst>
            <pc:docMk/>
            <pc:sldMk cId="0" sldId="267"/>
            <ac:spMk id="35" creationId="{79BAE192-0C81-4B28-BC5F-A4921025409F}"/>
          </ac:spMkLst>
        </pc:spChg>
        <pc:spChg chg="mod">
          <ac:chgData name="Julie Campbell" userId="S::juliec@audienz.com::df5086f6-13ed-4e69-b43c-17720522b05d" providerId="AD" clId="Web-{E43DB6EA-01AD-F658-1084-376FB4668AEE}" dt="2020-07-29T22:00:00.638" v="142" actId="20577"/>
          <ac:spMkLst>
            <pc:docMk/>
            <pc:sldMk cId="0" sldId="267"/>
            <ac:spMk id="36" creationId="{1B07D6DD-DDA7-4599-A298-979D1CEDB76E}"/>
          </ac:spMkLst>
        </pc:spChg>
        <pc:spChg chg="mod">
          <ac:chgData name="Julie Campbell" userId="S::juliec@audienz.com::df5086f6-13ed-4e69-b43c-17720522b05d" providerId="AD" clId="Web-{E43DB6EA-01AD-F658-1084-376FB4668AEE}" dt="2020-07-29T22:00:00.669" v="143" actId="20577"/>
          <ac:spMkLst>
            <pc:docMk/>
            <pc:sldMk cId="0" sldId="267"/>
            <ac:spMk id="37" creationId="{1ADD0BB3-1ECC-45D3-808A-283AE5B42BA4}"/>
          </ac:spMkLst>
        </pc:spChg>
        <pc:spChg chg="mod">
          <ac:chgData name="Julie Campbell" userId="S::juliec@audienz.com::df5086f6-13ed-4e69-b43c-17720522b05d" providerId="AD" clId="Web-{E43DB6EA-01AD-F658-1084-376FB4668AEE}" dt="2020-07-29T22:00:00.200" v="121" actId="20577"/>
          <ac:spMkLst>
            <pc:docMk/>
            <pc:sldMk cId="0" sldId="267"/>
            <ac:spMk id="47" creationId="{CFDC9C89-570D-45BA-8F91-2DDE01EE756E}"/>
          </ac:spMkLst>
        </pc:spChg>
        <pc:spChg chg="mod">
          <ac:chgData name="Julie Campbell" userId="S::juliec@audienz.com::df5086f6-13ed-4e69-b43c-17720522b05d" providerId="AD" clId="Web-{E43DB6EA-01AD-F658-1084-376FB4668AEE}" dt="2020-07-29T22:00:00.216" v="122" actId="20577"/>
          <ac:spMkLst>
            <pc:docMk/>
            <pc:sldMk cId="0" sldId="267"/>
            <ac:spMk id="48" creationId="{60BAE4CC-895B-45CD-8AAC-C2B79BA07756}"/>
          </ac:spMkLst>
        </pc:spChg>
        <pc:spChg chg="mod">
          <ac:chgData name="Julie Campbell" userId="S::juliec@audienz.com::df5086f6-13ed-4e69-b43c-17720522b05d" providerId="AD" clId="Web-{E43DB6EA-01AD-F658-1084-376FB4668AEE}" dt="2020-07-29T22:00:00.231" v="123" actId="20577"/>
          <ac:spMkLst>
            <pc:docMk/>
            <pc:sldMk cId="0" sldId="267"/>
            <ac:spMk id="49" creationId="{0E4D0818-4407-41D2-B5CA-2E846E6E3799}"/>
          </ac:spMkLst>
        </pc:spChg>
        <pc:spChg chg="mod">
          <ac:chgData name="Julie Campbell" userId="S::juliec@audienz.com::df5086f6-13ed-4e69-b43c-17720522b05d" providerId="AD" clId="Web-{E43DB6EA-01AD-F658-1084-376FB4668AEE}" dt="2020-07-29T22:00:00.247" v="124" actId="20577"/>
          <ac:spMkLst>
            <pc:docMk/>
            <pc:sldMk cId="0" sldId="267"/>
            <ac:spMk id="52" creationId="{AB11B5BC-D987-42F6-ACEB-60589F6A9C77}"/>
          </ac:spMkLst>
        </pc:spChg>
        <pc:spChg chg="mod">
          <ac:chgData name="Julie Campbell" userId="S::juliec@audienz.com::df5086f6-13ed-4e69-b43c-17720522b05d" providerId="AD" clId="Web-{E43DB6EA-01AD-F658-1084-376FB4668AEE}" dt="2020-07-29T22:00:00.263" v="125" actId="20577"/>
          <ac:spMkLst>
            <pc:docMk/>
            <pc:sldMk cId="0" sldId="267"/>
            <ac:spMk id="54" creationId="{CBE0C314-6C2B-42D1-A693-7729A4BF6D7D}"/>
          </ac:spMkLst>
        </pc:spChg>
        <pc:spChg chg="mod">
          <ac:chgData name="Julie Campbell" userId="S::juliec@audienz.com::df5086f6-13ed-4e69-b43c-17720522b05d" providerId="AD" clId="Web-{E43DB6EA-01AD-F658-1084-376FB4668AEE}" dt="2020-07-29T22:00:00.278" v="126" actId="20577"/>
          <ac:spMkLst>
            <pc:docMk/>
            <pc:sldMk cId="0" sldId="267"/>
            <ac:spMk id="55" creationId="{6C10294B-DC7F-40CB-842D-E735BB3ECF4B}"/>
          </ac:spMkLst>
        </pc:spChg>
        <pc:spChg chg="mod">
          <ac:chgData name="Julie Campbell" userId="S::juliec@audienz.com::df5086f6-13ed-4e69-b43c-17720522b05d" providerId="AD" clId="Web-{E43DB6EA-01AD-F658-1084-376FB4668AEE}" dt="2020-07-29T22:00:00.294" v="127" actId="20577"/>
          <ac:spMkLst>
            <pc:docMk/>
            <pc:sldMk cId="0" sldId="267"/>
            <ac:spMk id="57" creationId="{B8D0A8B2-5BE0-4C0D-B1E4-7EA3EEE023A4}"/>
          </ac:spMkLst>
        </pc:spChg>
        <pc:spChg chg="mod">
          <ac:chgData name="Julie Campbell" userId="S::juliec@audienz.com::df5086f6-13ed-4e69-b43c-17720522b05d" providerId="AD" clId="Web-{E43DB6EA-01AD-F658-1084-376FB4668AEE}" dt="2020-07-29T22:00:00.325" v="128" actId="20577"/>
          <ac:spMkLst>
            <pc:docMk/>
            <pc:sldMk cId="0" sldId="267"/>
            <ac:spMk id="58" creationId="{03B8BFEE-BB10-4832-A0C9-6E34FF3F153C}"/>
          </ac:spMkLst>
        </pc:spChg>
        <pc:spChg chg="mod">
          <ac:chgData name="Julie Campbell" userId="S::juliec@audienz.com::df5086f6-13ed-4e69-b43c-17720522b05d" providerId="AD" clId="Web-{E43DB6EA-01AD-F658-1084-376FB4668AEE}" dt="2020-07-29T22:00:00.341" v="129" actId="20577"/>
          <ac:spMkLst>
            <pc:docMk/>
            <pc:sldMk cId="0" sldId="267"/>
            <ac:spMk id="60" creationId="{D19075D0-9E4E-460E-8557-E834FB262984}"/>
          </ac:spMkLst>
        </pc:spChg>
        <pc:spChg chg="mod">
          <ac:chgData name="Julie Campbell" userId="S::juliec@audienz.com::df5086f6-13ed-4e69-b43c-17720522b05d" providerId="AD" clId="Web-{E43DB6EA-01AD-F658-1084-376FB4668AEE}" dt="2020-07-29T22:00:00.372" v="130" actId="20577"/>
          <ac:spMkLst>
            <pc:docMk/>
            <pc:sldMk cId="0" sldId="267"/>
            <ac:spMk id="61" creationId="{E5803FFA-2F60-4B69-BF32-D76BF65CB7B9}"/>
          </ac:spMkLst>
        </pc:spChg>
        <pc:spChg chg="mod">
          <ac:chgData name="Julie Campbell" userId="S::juliec@audienz.com::df5086f6-13ed-4e69-b43c-17720522b05d" providerId="AD" clId="Web-{E43DB6EA-01AD-F658-1084-376FB4668AEE}" dt="2020-07-29T22:00:00.388" v="131" actId="20577"/>
          <ac:spMkLst>
            <pc:docMk/>
            <pc:sldMk cId="0" sldId="267"/>
            <ac:spMk id="62" creationId="{BA904B6C-A250-4FE3-8655-1B07858C9720}"/>
          </ac:spMkLst>
        </pc:spChg>
        <pc:spChg chg="mod">
          <ac:chgData name="Julie Campbell" userId="S::juliec@audienz.com::df5086f6-13ed-4e69-b43c-17720522b05d" providerId="AD" clId="Web-{E43DB6EA-01AD-F658-1084-376FB4668AEE}" dt="2020-07-29T22:00:00.403" v="132" actId="20577"/>
          <ac:spMkLst>
            <pc:docMk/>
            <pc:sldMk cId="0" sldId="267"/>
            <ac:spMk id="63" creationId="{1EA048BB-72FF-4596-93B8-4AB6AC033159}"/>
          </ac:spMkLst>
        </pc:spChg>
        <pc:spChg chg="mod">
          <ac:chgData name="Julie Campbell" userId="S::juliec@audienz.com::df5086f6-13ed-4e69-b43c-17720522b05d" providerId="AD" clId="Web-{E43DB6EA-01AD-F658-1084-376FB4668AEE}" dt="2020-07-29T22:00:00.419" v="133" actId="20577"/>
          <ac:spMkLst>
            <pc:docMk/>
            <pc:sldMk cId="0" sldId="267"/>
            <ac:spMk id="64" creationId="{57AEA0EA-F20E-4D0D-9429-6819035B5B28}"/>
          </ac:spMkLst>
        </pc:spChg>
        <pc:spChg chg="mod">
          <ac:chgData name="Julie Campbell" userId="S::juliec@audienz.com::df5086f6-13ed-4e69-b43c-17720522b05d" providerId="AD" clId="Web-{E43DB6EA-01AD-F658-1084-376FB4668AEE}" dt="2020-07-29T22:00:00.434" v="134" actId="20577"/>
          <ac:spMkLst>
            <pc:docMk/>
            <pc:sldMk cId="0" sldId="267"/>
            <ac:spMk id="65" creationId="{553D76D1-1F86-4F0E-B449-81301AB00D9A}"/>
          </ac:spMkLst>
        </pc:spChg>
        <pc:spChg chg="mod">
          <ac:chgData name="Julie Campbell" userId="S::juliec@audienz.com::df5086f6-13ed-4e69-b43c-17720522b05d" providerId="AD" clId="Web-{E43DB6EA-01AD-F658-1084-376FB4668AEE}" dt="2020-07-29T22:00:00.450" v="135" actId="20577"/>
          <ac:spMkLst>
            <pc:docMk/>
            <pc:sldMk cId="0" sldId="267"/>
            <ac:spMk id="66" creationId="{70ABABC0-E4EF-4C22-AFBF-6D1354AD74A9}"/>
          </ac:spMkLst>
        </pc:spChg>
        <pc:spChg chg="mod">
          <ac:chgData name="Julie Campbell" userId="S::juliec@audienz.com::df5086f6-13ed-4e69-b43c-17720522b05d" providerId="AD" clId="Web-{E43DB6EA-01AD-F658-1084-376FB4668AEE}" dt="2020-07-29T22:00:00.466" v="136" actId="20577"/>
          <ac:spMkLst>
            <pc:docMk/>
            <pc:sldMk cId="0" sldId="267"/>
            <ac:spMk id="67" creationId="{89EA91CB-601C-4C10-9D7F-FE33ED6F7EC2}"/>
          </ac:spMkLst>
        </pc:spChg>
      </pc:sldChg>
      <pc:sldChg chg="modSp">
        <pc:chgData name="Julie Campbell" userId="S::juliec@audienz.com::df5086f6-13ed-4e69-b43c-17720522b05d" providerId="AD" clId="Web-{E43DB6EA-01AD-F658-1084-376FB4668AEE}" dt="2020-07-29T22:01:14.720" v="216" actId="20577"/>
        <pc:sldMkLst>
          <pc:docMk/>
          <pc:sldMk cId="3164954379" sldId="272"/>
        </pc:sldMkLst>
        <pc:spChg chg="mod">
          <ac:chgData name="Julie Campbell" userId="S::juliec@audienz.com::df5086f6-13ed-4e69-b43c-17720522b05d" providerId="AD" clId="Web-{E43DB6EA-01AD-F658-1084-376FB4668AEE}" dt="2020-07-29T22:01:14.501" v="206" actId="20577"/>
          <ac:spMkLst>
            <pc:docMk/>
            <pc:sldMk cId="3164954379" sldId="272"/>
            <ac:spMk id="8" creationId="{7309D0DE-E05D-463C-AED5-65773AEF3DE2}"/>
          </ac:spMkLst>
        </pc:spChg>
        <pc:spChg chg="mod">
          <ac:chgData name="Julie Campbell" userId="S::juliec@audienz.com::df5086f6-13ed-4e69-b43c-17720522b05d" providerId="AD" clId="Web-{E43DB6EA-01AD-F658-1084-376FB4668AEE}" dt="2020-07-29T22:01:14.376" v="202" actId="20577"/>
          <ac:spMkLst>
            <pc:docMk/>
            <pc:sldMk cId="3164954379" sldId="272"/>
            <ac:spMk id="11" creationId="{5705DAF0-F413-41D0-AB60-FE085FC89141}"/>
          </ac:spMkLst>
        </pc:spChg>
        <pc:spChg chg="mod">
          <ac:chgData name="Julie Campbell" userId="S::juliec@audienz.com::df5086f6-13ed-4e69-b43c-17720522b05d" providerId="AD" clId="Web-{E43DB6EA-01AD-F658-1084-376FB4668AEE}" dt="2020-07-29T22:01:14.408" v="203" actId="20577"/>
          <ac:spMkLst>
            <pc:docMk/>
            <pc:sldMk cId="3164954379" sldId="272"/>
            <ac:spMk id="19" creationId="{41684110-2615-4ACF-B92A-9CAF12757E59}"/>
          </ac:spMkLst>
        </pc:spChg>
        <pc:spChg chg="mod">
          <ac:chgData name="Julie Campbell" userId="S::juliec@audienz.com::df5086f6-13ed-4e69-b43c-17720522b05d" providerId="AD" clId="Web-{E43DB6EA-01AD-F658-1084-376FB4668AEE}" dt="2020-07-29T22:01:14.220" v="194" actId="20577"/>
          <ac:spMkLst>
            <pc:docMk/>
            <pc:sldMk cId="3164954379" sldId="272"/>
            <ac:spMk id="35" creationId="{60934D78-CB4F-4D61-A3CD-91D26E5B060A}"/>
          </ac:spMkLst>
        </pc:spChg>
        <pc:spChg chg="mod">
          <ac:chgData name="Julie Campbell" userId="S::juliec@audienz.com::df5086f6-13ed-4e69-b43c-17720522b05d" providerId="AD" clId="Web-{E43DB6EA-01AD-F658-1084-376FB4668AEE}" dt="2020-07-29T22:01:14.236" v="195" actId="20577"/>
          <ac:spMkLst>
            <pc:docMk/>
            <pc:sldMk cId="3164954379" sldId="272"/>
            <ac:spMk id="36" creationId="{16469762-6CC4-4181-ACFD-427B366B01FC}"/>
          </ac:spMkLst>
        </pc:spChg>
        <pc:spChg chg="mod">
          <ac:chgData name="Julie Campbell" userId="S::juliec@audienz.com::df5086f6-13ed-4e69-b43c-17720522b05d" providerId="AD" clId="Web-{E43DB6EA-01AD-F658-1084-376FB4668AEE}" dt="2020-07-29T22:01:14.251" v="196" actId="20577"/>
          <ac:spMkLst>
            <pc:docMk/>
            <pc:sldMk cId="3164954379" sldId="272"/>
            <ac:spMk id="37" creationId="{4AFE0A3F-3231-4EB3-A586-9231B8C29D0B}"/>
          </ac:spMkLst>
        </pc:spChg>
        <pc:spChg chg="mod">
          <ac:chgData name="Julie Campbell" userId="S::juliec@audienz.com::df5086f6-13ed-4e69-b43c-17720522b05d" providerId="AD" clId="Web-{E43DB6EA-01AD-F658-1084-376FB4668AEE}" dt="2020-07-29T22:01:14.267" v="197" actId="20577"/>
          <ac:spMkLst>
            <pc:docMk/>
            <pc:sldMk cId="3164954379" sldId="272"/>
            <ac:spMk id="39" creationId="{927C0C2B-1A7E-468E-BDB6-3970F63785E3}"/>
          </ac:spMkLst>
        </pc:spChg>
        <pc:spChg chg="mod">
          <ac:chgData name="Julie Campbell" userId="S::juliec@audienz.com::df5086f6-13ed-4e69-b43c-17720522b05d" providerId="AD" clId="Web-{E43DB6EA-01AD-F658-1084-376FB4668AEE}" dt="2020-07-29T22:01:14.283" v="198" actId="20577"/>
          <ac:spMkLst>
            <pc:docMk/>
            <pc:sldMk cId="3164954379" sldId="272"/>
            <ac:spMk id="40" creationId="{32BDC75C-5513-43A1-96A4-443BD7D86336}"/>
          </ac:spMkLst>
        </pc:spChg>
        <pc:spChg chg="mod">
          <ac:chgData name="Julie Campbell" userId="S::juliec@audienz.com::df5086f6-13ed-4e69-b43c-17720522b05d" providerId="AD" clId="Web-{E43DB6EA-01AD-F658-1084-376FB4668AEE}" dt="2020-07-29T22:01:14.314" v="199" actId="20577"/>
          <ac:spMkLst>
            <pc:docMk/>
            <pc:sldMk cId="3164954379" sldId="272"/>
            <ac:spMk id="41" creationId="{B29BC9C3-F0F1-4B89-8E7E-3410B2589B98}"/>
          </ac:spMkLst>
        </pc:spChg>
        <pc:spChg chg="mod">
          <ac:chgData name="Julie Campbell" userId="S::juliec@audienz.com::df5086f6-13ed-4e69-b43c-17720522b05d" providerId="AD" clId="Web-{E43DB6EA-01AD-F658-1084-376FB4668AEE}" dt="2020-07-29T22:01:14.329" v="200" actId="20577"/>
          <ac:spMkLst>
            <pc:docMk/>
            <pc:sldMk cId="3164954379" sldId="272"/>
            <ac:spMk id="43" creationId="{32B05DC0-EB19-4B92-B403-EE7504A9BFBC}"/>
          </ac:spMkLst>
        </pc:spChg>
        <pc:spChg chg="mod">
          <ac:chgData name="Julie Campbell" userId="S::juliec@audienz.com::df5086f6-13ed-4e69-b43c-17720522b05d" providerId="AD" clId="Web-{E43DB6EA-01AD-F658-1084-376FB4668AEE}" dt="2020-07-29T22:01:14.361" v="201" actId="20577"/>
          <ac:spMkLst>
            <pc:docMk/>
            <pc:sldMk cId="3164954379" sldId="272"/>
            <ac:spMk id="44" creationId="{84379F18-DA0F-4ED6-9DE5-9CDA51B55355}"/>
          </ac:spMkLst>
        </pc:spChg>
        <pc:spChg chg="mod">
          <ac:chgData name="Julie Campbell" userId="S::juliec@audienz.com::df5086f6-13ed-4e69-b43c-17720522b05d" providerId="AD" clId="Web-{E43DB6EA-01AD-F658-1084-376FB4668AEE}" dt="2020-07-29T22:01:14.439" v="204" actId="20577"/>
          <ac:spMkLst>
            <pc:docMk/>
            <pc:sldMk cId="3164954379" sldId="272"/>
            <ac:spMk id="52" creationId="{50B98C15-7843-4B54-8A89-F219628CFDBB}"/>
          </ac:spMkLst>
        </pc:spChg>
        <pc:spChg chg="mod">
          <ac:chgData name="Julie Campbell" userId="S::juliec@audienz.com::df5086f6-13ed-4e69-b43c-17720522b05d" providerId="AD" clId="Web-{E43DB6EA-01AD-F658-1084-376FB4668AEE}" dt="2020-07-29T22:01:14.470" v="205" actId="20577"/>
          <ac:spMkLst>
            <pc:docMk/>
            <pc:sldMk cId="3164954379" sldId="272"/>
            <ac:spMk id="53" creationId="{DFF179E7-2C5D-4D10-8096-A45939F52A2A}"/>
          </ac:spMkLst>
        </pc:spChg>
        <pc:spChg chg="mod">
          <ac:chgData name="Julie Campbell" userId="S::juliec@audienz.com::df5086f6-13ed-4e69-b43c-17720522b05d" providerId="AD" clId="Web-{E43DB6EA-01AD-F658-1084-376FB4668AEE}" dt="2020-07-29T22:01:14.517" v="207" actId="20577"/>
          <ac:spMkLst>
            <pc:docMk/>
            <pc:sldMk cId="3164954379" sldId="272"/>
            <ac:spMk id="54" creationId="{64B426F1-A159-4CBE-A301-F40C271050EF}"/>
          </ac:spMkLst>
        </pc:spChg>
        <pc:spChg chg="mod">
          <ac:chgData name="Julie Campbell" userId="S::juliec@audienz.com::df5086f6-13ed-4e69-b43c-17720522b05d" providerId="AD" clId="Web-{E43DB6EA-01AD-F658-1084-376FB4668AEE}" dt="2020-07-29T22:01:14.533" v="208" actId="20577"/>
          <ac:spMkLst>
            <pc:docMk/>
            <pc:sldMk cId="3164954379" sldId="272"/>
            <ac:spMk id="55" creationId="{23FBDA08-A4A7-42A7-93FE-859A95C6975D}"/>
          </ac:spMkLst>
        </pc:spChg>
        <pc:spChg chg="mod">
          <ac:chgData name="Julie Campbell" userId="S::juliec@audienz.com::df5086f6-13ed-4e69-b43c-17720522b05d" providerId="AD" clId="Web-{E43DB6EA-01AD-F658-1084-376FB4668AEE}" dt="2020-07-29T22:01:14.564" v="209" actId="20577"/>
          <ac:spMkLst>
            <pc:docMk/>
            <pc:sldMk cId="3164954379" sldId="272"/>
            <ac:spMk id="56" creationId="{38225398-52D3-4479-BEDC-ED879D5327F6}"/>
          </ac:spMkLst>
        </pc:spChg>
        <pc:spChg chg="mod">
          <ac:chgData name="Julie Campbell" userId="S::juliec@audienz.com::df5086f6-13ed-4e69-b43c-17720522b05d" providerId="AD" clId="Web-{E43DB6EA-01AD-F658-1084-376FB4668AEE}" dt="2020-07-29T22:01:14.595" v="210" actId="20577"/>
          <ac:spMkLst>
            <pc:docMk/>
            <pc:sldMk cId="3164954379" sldId="272"/>
            <ac:spMk id="57" creationId="{96C70EF6-9268-4D29-B358-82CFE42FFF65}"/>
          </ac:spMkLst>
        </pc:spChg>
        <pc:spChg chg="mod">
          <ac:chgData name="Julie Campbell" userId="S::juliec@audienz.com::df5086f6-13ed-4e69-b43c-17720522b05d" providerId="AD" clId="Web-{E43DB6EA-01AD-F658-1084-376FB4668AEE}" dt="2020-07-29T22:01:14.626" v="211" actId="20577"/>
          <ac:spMkLst>
            <pc:docMk/>
            <pc:sldMk cId="3164954379" sldId="272"/>
            <ac:spMk id="59" creationId="{EE7BF6CA-42F3-4D8B-97A7-8E838FB3ABC1}"/>
          </ac:spMkLst>
        </pc:spChg>
        <pc:spChg chg="mod">
          <ac:chgData name="Julie Campbell" userId="S::juliec@audienz.com::df5086f6-13ed-4e69-b43c-17720522b05d" providerId="AD" clId="Web-{E43DB6EA-01AD-F658-1084-376FB4668AEE}" dt="2020-07-29T22:01:14.642" v="212" actId="20577"/>
          <ac:spMkLst>
            <pc:docMk/>
            <pc:sldMk cId="3164954379" sldId="272"/>
            <ac:spMk id="60" creationId="{0E6F81F8-4948-49FC-A077-713B65072450}"/>
          </ac:spMkLst>
        </pc:spChg>
        <pc:spChg chg="mod">
          <ac:chgData name="Julie Campbell" userId="S::juliec@audienz.com::df5086f6-13ed-4e69-b43c-17720522b05d" providerId="AD" clId="Web-{E43DB6EA-01AD-F658-1084-376FB4668AEE}" dt="2020-07-29T22:01:14.673" v="213" actId="20577"/>
          <ac:spMkLst>
            <pc:docMk/>
            <pc:sldMk cId="3164954379" sldId="272"/>
            <ac:spMk id="61" creationId="{3A6EDD5F-944A-4089-8B28-DE329DDFBB11}"/>
          </ac:spMkLst>
        </pc:spChg>
        <pc:spChg chg="mod">
          <ac:chgData name="Julie Campbell" userId="S::juliec@audienz.com::df5086f6-13ed-4e69-b43c-17720522b05d" providerId="AD" clId="Web-{E43DB6EA-01AD-F658-1084-376FB4668AEE}" dt="2020-07-29T22:01:14.689" v="214" actId="20577"/>
          <ac:spMkLst>
            <pc:docMk/>
            <pc:sldMk cId="3164954379" sldId="272"/>
            <ac:spMk id="62" creationId="{0F403243-F84F-47FF-94D7-1BF7FE6A7220}"/>
          </ac:spMkLst>
        </pc:spChg>
        <pc:spChg chg="mod">
          <ac:chgData name="Julie Campbell" userId="S::juliec@audienz.com::df5086f6-13ed-4e69-b43c-17720522b05d" providerId="AD" clId="Web-{E43DB6EA-01AD-F658-1084-376FB4668AEE}" dt="2020-07-29T22:01:14.704" v="215" actId="20577"/>
          <ac:spMkLst>
            <pc:docMk/>
            <pc:sldMk cId="3164954379" sldId="272"/>
            <ac:spMk id="66" creationId="{E7E92ECC-5710-49A3-B3CD-78A2433BF176}"/>
          </ac:spMkLst>
        </pc:spChg>
        <pc:spChg chg="mod">
          <ac:chgData name="Julie Campbell" userId="S::juliec@audienz.com::df5086f6-13ed-4e69-b43c-17720522b05d" providerId="AD" clId="Web-{E43DB6EA-01AD-F658-1084-376FB4668AEE}" dt="2020-07-29T22:01:14.720" v="216" actId="20577"/>
          <ac:spMkLst>
            <pc:docMk/>
            <pc:sldMk cId="3164954379" sldId="272"/>
            <ac:spMk id="67" creationId="{126FD721-DC2F-46D0-AFE6-2753FCC31A0F}"/>
          </ac:spMkLst>
        </pc:spChg>
      </pc:sldChg>
      <pc:sldChg chg="modSp">
        <pc:chgData name="Julie Campbell" userId="S::juliec@audienz.com::df5086f6-13ed-4e69-b43c-17720522b05d" providerId="AD" clId="Web-{E43DB6EA-01AD-F658-1084-376FB4668AEE}" dt="2020-07-29T22:01:51.519" v="240" actId="20577"/>
        <pc:sldMkLst>
          <pc:docMk/>
          <pc:sldMk cId="0" sldId="276"/>
        </pc:sldMkLst>
        <pc:spChg chg="mod">
          <ac:chgData name="Julie Campbell" userId="S::juliec@audienz.com::df5086f6-13ed-4e69-b43c-17720522b05d" providerId="AD" clId="Web-{E43DB6EA-01AD-F658-1084-376FB4668AEE}" dt="2020-07-29T22:01:51.019" v="218" actId="20577"/>
          <ac:spMkLst>
            <pc:docMk/>
            <pc:sldMk cId="0" sldId="276"/>
            <ac:spMk id="2" creationId="{482035DD-3457-409F-8FC8-77868C094947}"/>
          </ac:spMkLst>
        </pc:spChg>
        <pc:spChg chg="mod">
          <ac:chgData name="Julie Campbell" userId="S::juliec@audienz.com::df5086f6-13ed-4e69-b43c-17720522b05d" providerId="AD" clId="Web-{E43DB6EA-01AD-F658-1084-376FB4668AEE}" dt="2020-07-29T22:01:51.035" v="219" actId="20577"/>
          <ac:spMkLst>
            <pc:docMk/>
            <pc:sldMk cId="0" sldId="276"/>
            <ac:spMk id="17" creationId="{6348D137-F268-4875-9F84-884FB3226A8F}"/>
          </ac:spMkLst>
        </pc:spChg>
        <pc:spChg chg="mod">
          <ac:chgData name="Julie Campbell" userId="S::juliec@audienz.com::df5086f6-13ed-4e69-b43c-17720522b05d" providerId="AD" clId="Web-{E43DB6EA-01AD-F658-1084-376FB4668AEE}" dt="2020-07-29T22:01:51.050" v="220" actId="20577"/>
          <ac:spMkLst>
            <pc:docMk/>
            <pc:sldMk cId="0" sldId="276"/>
            <ac:spMk id="21" creationId="{D61714D1-717E-47A1-A4DB-8A78327486FC}"/>
          </ac:spMkLst>
        </pc:spChg>
        <pc:spChg chg="mod">
          <ac:chgData name="Julie Campbell" userId="S::juliec@audienz.com::df5086f6-13ed-4e69-b43c-17720522b05d" providerId="AD" clId="Web-{E43DB6EA-01AD-F658-1084-376FB4668AEE}" dt="2020-07-29T22:01:51.082" v="221" actId="20577"/>
          <ac:spMkLst>
            <pc:docMk/>
            <pc:sldMk cId="0" sldId="276"/>
            <ac:spMk id="22" creationId="{8EB3C69A-FE01-4A2D-8DB2-E6F9AF56EFA6}"/>
          </ac:spMkLst>
        </pc:spChg>
        <pc:spChg chg="mod">
          <ac:chgData name="Julie Campbell" userId="S::juliec@audienz.com::df5086f6-13ed-4e69-b43c-17720522b05d" providerId="AD" clId="Web-{E43DB6EA-01AD-F658-1084-376FB4668AEE}" dt="2020-07-29T22:01:51.097" v="222" actId="20577"/>
          <ac:spMkLst>
            <pc:docMk/>
            <pc:sldMk cId="0" sldId="276"/>
            <ac:spMk id="23" creationId="{18E567C4-BEB1-4562-8D11-1C31F67934AB}"/>
          </ac:spMkLst>
        </pc:spChg>
        <pc:spChg chg="mod">
          <ac:chgData name="Julie Campbell" userId="S::juliec@audienz.com::df5086f6-13ed-4e69-b43c-17720522b05d" providerId="AD" clId="Web-{E43DB6EA-01AD-F658-1084-376FB4668AEE}" dt="2020-07-29T22:01:51.113" v="223" actId="20577"/>
          <ac:spMkLst>
            <pc:docMk/>
            <pc:sldMk cId="0" sldId="276"/>
            <ac:spMk id="27" creationId="{06D5710B-D9AB-4850-8752-9BDE8D549887}"/>
          </ac:spMkLst>
        </pc:spChg>
        <pc:spChg chg="mod">
          <ac:chgData name="Julie Campbell" userId="S::juliec@audienz.com::df5086f6-13ed-4e69-b43c-17720522b05d" providerId="AD" clId="Web-{E43DB6EA-01AD-F658-1084-376FB4668AEE}" dt="2020-07-29T22:01:51.144" v="224" actId="20577"/>
          <ac:spMkLst>
            <pc:docMk/>
            <pc:sldMk cId="0" sldId="276"/>
            <ac:spMk id="28" creationId="{093A1D3C-0E11-4AD1-A439-12B3C1F0E474}"/>
          </ac:spMkLst>
        </pc:spChg>
        <pc:spChg chg="mod">
          <ac:chgData name="Julie Campbell" userId="S::juliec@audienz.com::df5086f6-13ed-4e69-b43c-17720522b05d" providerId="AD" clId="Web-{E43DB6EA-01AD-F658-1084-376FB4668AEE}" dt="2020-07-29T22:01:51.160" v="225" actId="20577"/>
          <ac:spMkLst>
            <pc:docMk/>
            <pc:sldMk cId="0" sldId="276"/>
            <ac:spMk id="29" creationId="{16F73167-5B17-44B4-AD65-5B081C56241E}"/>
          </ac:spMkLst>
        </pc:spChg>
        <pc:spChg chg="mod">
          <ac:chgData name="Julie Campbell" userId="S::juliec@audienz.com::df5086f6-13ed-4e69-b43c-17720522b05d" providerId="AD" clId="Web-{E43DB6EA-01AD-F658-1084-376FB4668AEE}" dt="2020-07-29T22:01:51.175" v="226" actId="20577"/>
          <ac:spMkLst>
            <pc:docMk/>
            <pc:sldMk cId="0" sldId="276"/>
            <ac:spMk id="32" creationId="{260CEE37-BF28-4E88-B7E2-DF45529CBAEA}"/>
          </ac:spMkLst>
        </pc:spChg>
        <pc:spChg chg="mod">
          <ac:chgData name="Julie Campbell" userId="S::juliec@audienz.com::df5086f6-13ed-4e69-b43c-17720522b05d" providerId="AD" clId="Web-{E43DB6EA-01AD-F658-1084-376FB4668AEE}" dt="2020-07-29T22:01:51.222" v="227" actId="20577"/>
          <ac:spMkLst>
            <pc:docMk/>
            <pc:sldMk cId="0" sldId="276"/>
            <ac:spMk id="34" creationId="{EBC6C8C9-16A8-450B-B10B-D6403C2F8430}"/>
          </ac:spMkLst>
        </pc:spChg>
        <pc:spChg chg="mod">
          <ac:chgData name="Julie Campbell" userId="S::juliec@audienz.com::df5086f6-13ed-4e69-b43c-17720522b05d" providerId="AD" clId="Web-{E43DB6EA-01AD-F658-1084-376FB4668AEE}" dt="2020-07-29T22:01:51.253" v="228" actId="20577"/>
          <ac:spMkLst>
            <pc:docMk/>
            <pc:sldMk cId="0" sldId="276"/>
            <ac:spMk id="36" creationId="{D5A76E62-AE31-4C8A-9F9F-C0B5212C4B50}"/>
          </ac:spMkLst>
        </pc:spChg>
        <pc:spChg chg="mod">
          <ac:chgData name="Julie Campbell" userId="S::juliec@audienz.com::df5086f6-13ed-4e69-b43c-17720522b05d" providerId="AD" clId="Web-{E43DB6EA-01AD-F658-1084-376FB4668AEE}" dt="2020-07-29T22:01:51.425" v="235" actId="20577"/>
          <ac:spMkLst>
            <pc:docMk/>
            <pc:sldMk cId="0" sldId="276"/>
            <ac:spMk id="37" creationId="{45E41802-4B74-42B0-8B67-F6F12B18FA31}"/>
          </ac:spMkLst>
        </pc:spChg>
        <pc:spChg chg="mod">
          <ac:chgData name="Julie Campbell" userId="S::juliec@audienz.com::df5086f6-13ed-4e69-b43c-17720522b05d" providerId="AD" clId="Web-{E43DB6EA-01AD-F658-1084-376FB4668AEE}" dt="2020-07-29T22:01:51.269" v="229" actId="20577"/>
          <ac:spMkLst>
            <pc:docMk/>
            <pc:sldMk cId="0" sldId="276"/>
            <ac:spMk id="38" creationId="{E5FD69F4-12A9-4CAE-A635-2861716A03A4}"/>
          </ac:spMkLst>
        </pc:spChg>
        <pc:spChg chg="mod">
          <ac:chgData name="Julie Campbell" userId="S::juliec@audienz.com::df5086f6-13ed-4e69-b43c-17720522b05d" providerId="AD" clId="Web-{E43DB6EA-01AD-F658-1084-376FB4668AEE}" dt="2020-07-29T22:01:51.300" v="230" actId="20577"/>
          <ac:spMkLst>
            <pc:docMk/>
            <pc:sldMk cId="0" sldId="276"/>
            <ac:spMk id="39" creationId="{6C4CDB05-32B4-4E96-BFB0-491A3C28F911}"/>
          </ac:spMkLst>
        </pc:spChg>
        <pc:spChg chg="mod">
          <ac:chgData name="Julie Campbell" userId="S::juliec@audienz.com::df5086f6-13ed-4e69-b43c-17720522b05d" providerId="AD" clId="Web-{E43DB6EA-01AD-F658-1084-376FB4668AEE}" dt="2020-07-29T22:01:51.332" v="231" actId="20577"/>
          <ac:spMkLst>
            <pc:docMk/>
            <pc:sldMk cId="0" sldId="276"/>
            <ac:spMk id="40" creationId="{E5391E1D-E32F-4460-B680-FEF06678E4BD}"/>
          </ac:spMkLst>
        </pc:spChg>
        <pc:spChg chg="mod">
          <ac:chgData name="Julie Campbell" userId="S::juliec@audienz.com::df5086f6-13ed-4e69-b43c-17720522b05d" providerId="AD" clId="Web-{E43DB6EA-01AD-F658-1084-376FB4668AEE}" dt="2020-07-29T22:01:51.363" v="232" actId="20577"/>
          <ac:spMkLst>
            <pc:docMk/>
            <pc:sldMk cId="0" sldId="276"/>
            <ac:spMk id="41" creationId="{D0982488-BCE0-4553-88B8-A9F86FDD51AA}"/>
          </ac:spMkLst>
        </pc:spChg>
        <pc:spChg chg="mod">
          <ac:chgData name="Julie Campbell" userId="S::juliec@audienz.com::df5086f6-13ed-4e69-b43c-17720522b05d" providerId="AD" clId="Web-{E43DB6EA-01AD-F658-1084-376FB4668AEE}" dt="2020-07-29T22:01:51.441" v="236" actId="20577"/>
          <ac:spMkLst>
            <pc:docMk/>
            <pc:sldMk cId="0" sldId="276"/>
            <ac:spMk id="42" creationId="{895DF075-4912-42B3-A6B7-8A83779AA306}"/>
          </ac:spMkLst>
        </pc:spChg>
        <pc:spChg chg="mod">
          <ac:chgData name="Julie Campbell" userId="S::juliec@audienz.com::df5086f6-13ed-4e69-b43c-17720522b05d" providerId="AD" clId="Web-{E43DB6EA-01AD-F658-1084-376FB4668AEE}" dt="2020-07-29T22:01:51.378" v="233" actId="20577"/>
          <ac:spMkLst>
            <pc:docMk/>
            <pc:sldMk cId="0" sldId="276"/>
            <ac:spMk id="43" creationId="{0B7A89B9-4DEE-4803-B82C-97E82D27BE85}"/>
          </ac:spMkLst>
        </pc:spChg>
        <pc:spChg chg="mod">
          <ac:chgData name="Julie Campbell" userId="S::juliec@audienz.com::df5086f6-13ed-4e69-b43c-17720522b05d" providerId="AD" clId="Web-{E43DB6EA-01AD-F658-1084-376FB4668AEE}" dt="2020-07-29T22:01:51.457" v="237" actId="20577"/>
          <ac:spMkLst>
            <pc:docMk/>
            <pc:sldMk cId="0" sldId="276"/>
            <ac:spMk id="44" creationId="{2A85A002-C2EE-4221-B538-4073437EB96B}"/>
          </ac:spMkLst>
        </pc:spChg>
        <pc:spChg chg="mod">
          <ac:chgData name="Julie Campbell" userId="S::juliec@audienz.com::df5086f6-13ed-4e69-b43c-17720522b05d" providerId="AD" clId="Web-{E43DB6EA-01AD-F658-1084-376FB4668AEE}" dt="2020-07-29T22:01:51.472" v="238" actId="20577"/>
          <ac:spMkLst>
            <pc:docMk/>
            <pc:sldMk cId="0" sldId="276"/>
            <ac:spMk id="47" creationId="{52D0D638-3479-44A0-B73D-2CA698A02786}"/>
          </ac:spMkLst>
        </pc:spChg>
        <pc:spChg chg="mod">
          <ac:chgData name="Julie Campbell" userId="S::juliec@audienz.com::df5086f6-13ed-4e69-b43c-17720522b05d" providerId="AD" clId="Web-{E43DB6EA-01AD-F658-1084-376FB4668AEE}" dt="2020-07-29T22:01:51.503" v="239" actId="20577"/>
          <ac:spMkLst>
            <pc:docMk/>
            <pc:sldMk cId="0" sldId="276"/>
            <ac:spMk id="48" creationId="{D69CE287-998A-448C-8C98-C81C79C3E7A5}"/>
          </ac:spMkLst>
        </pc:spChg>
        <pc:spChg chg="mod">
          <ac:chgData name="Julie Campbell" userId="S::juliec@audienz.com::df5086f6-13ed-4e69-b43c-17720522b05d" providerId="AD" clId="Web-{E43DB6EA-01AD-F658-1084-376FB4668AEE}" dt="2020-07-29T22:01:51.519" v="240" actId="20577"/>
          <ac:spMkLst>
            <pc:docMk/>
            <pc:sldMk cId="0" sldId="276"/>
            <ac:spMk id="49" creationId="{8A08CCE9-ED42-4CC6-BF69-F3869B6343A2}"/>
          </ac:spMkLst>
        </pc:spChg>
        <pc:spChg chg="mod">
          <ac:chgData name="Julie Campbell" userId="S::juliec@audienz.com::df5086f6-13ed-4e69-b43c-17720522b05d" providerId="AD" clId="Web-{E43DB6EA-01AD-F658-1084-376FB4668AEE}" dt="2020-07-29T22:01:51.003" v="217" actId="20577"/>
          <ac:spMkLst>
            <pc:docMk/>
            <pc:sldMk cId="0" sldId="276"/>
            <ac:spMk id="50" creationId="{C662C4F0-5689-496B-A323-0D27CCBDCCC5}"/>
          </ac:spMkLst>
        </pc:spChg>
        <pc:spChg chg="mod">
          <ac:chgData name="Julie Campbell" userId="S::juliec@audienz.com::df5086f6-13ed-4e69-b43c-17720522b05d" providerId="AD" clId="Web-{E43DB6EA-01AD-F658-1084-376FB4668AEE}" dt="2020-07-29T22:01:51.394" v="234" actId="20577"/>
          <ac:spMkLst>
            <pc:docMk/>
            <pc:sldMk cId="0" sldId="276"/>
            <ac:spMk id="52" creationId="{CC056C72-5B5C-4680-87A6-3E5FB84A2AA3}"/>
          </ac:spMkLst>
        </pc:spChg>
      </pc:sldChg>
      <pc:sldChg chg="modSp">
        <pc:chgData name="Julie Campbell" userId="S::juliec@audienz.com::df5086f6-13ed-4e69-b43c-17720522b05d" providerId="AD" clId="Web-{E43DB6EA-01AD-F658-1084-376FB4668AEE}" dt="2020-07-29T22:02:07.692" v="303" actId="20577"/>
        <pc:sldMkLst>
          <pc:docMk/>
          <pc:sldMk cId="3661084469" sldId="10604"/>
        </pc:sldMkLst>
        <pc:spChg chg="mod">
          <ac:chgData name="Julie Campbell" userId="S::juliec@audienz.com::df5086f6-13ed-4e69-b43c-17720522b05d" providerId="AD" clId="Web-{E43DB6EA-01AD-F658-1084-376FB4668AEE}" dt="2020-07-29T22:02:06.770" v="285" actId="20577"/>
          <ac:spMkLst>
            <pc:docMk/>
            <pc:sldMk cId="3661084469" sldId="10604"/>
            <ac:spMk id="18" creationId="{3A8BBCB7-5290-4DA6-AFA8-E86BEC454D13}"/>
          </ac:spMkLst>
        </pc:spChg>
        <pc:spChg chg="mod">
          <ac:chgData name="Julie Campbell" userId="S::juliec@audienz.com::df5086f6-13ed-4e69-b43c-17720522b05d" providerId="AD" clId="Web-{E43DB6EA-01AD-F658-1084-376FB4668AEE}" dt="2020-07-29T22:02:06.786" v="286" actId="20577"/>
          <ac:spMkLst>
            <pc:docMk/>
            <pc:sldMk cId="3661084469" sldId="10604"/>
            <ac:spMk id="19" creationId="{6F1F659D-965F-48C2-B3F8-D38E1572F905}"/>
          </ac:spMkLst>
        </pc:spChg>
        <pc:spChg chg="mod">
          <ac:chgData name="Julie Campbell" userId="S::juliec@audienz.com::df5086f6-13ed-4e69-b43c-17720522b05d" providerId="AD" clId="Web-{E43DB6EA-01AD-F658-1084-376FB4668AEE}" dt="2020-07-29T22:02:06.848" v="287" actId="20577"/>
          <ac:spMkLst>
            <pc:docMk/>
            <pc:sldMk cId="3661084469" sldId="10604"/>
            <ac:spMk id="20" creationId="{0E853D80-0E8C-4DE8-AAFE-02E413D7B39D}"/>
          </ac:spMkLst>
        </pc:spChg>
        <pc:spChg chg="mod">
          <ac:chgData name="Julie Campbell" userId="S::juliec@audienz.com::df5086f6-13ed-4e69-b43c-17720522b05d" providerId="AD" clId="Web-{E43DB6EA-01AD-F658-1084-376FB4668AEE}" dt="2020-07-29T22:02:06.864" v="288" actId="20577"/>
          <ac:spMkLst>
            <pc:docMk/>
            <pc:sldMk cId="3661084469" sldId="10604"/>
            <ac:spMk id="22" creationId="{D0BC8427-62EC-4254-9648-EEC2D2A9457B}"/>
          </ac:spMkLst>
        </pc:spChg>
        <pc:spChg chg="mod">
          <ac:chgData name="Julie Campbell" userId="S::juliec@audienz.com::df5086f6-13ed-4e69-b43c-17720522b05d" providerId="AD" clId="Web-{E43DB6EA-01AD-F658-1084-376FB4668AEE}" dt="2020-07-29T22:02:06.895" v="289" actId="20577"/>
          <ac:spMkLst>
            <pc:docMk/>
            <pc:sldMk cId="3661084469" sldId="10604"/>
            <ac:spMk id="24" creationId="{BE4B8F33-EA8C-4DF5-A85D-68F8D28FA997}"/>
          </ac:spMkLst>
        </pc:spChg>
        <pc:spChg chg="mod">
          <ac:chgData name="Julie Campbell" userId="S::juliec@audienz.com::df5086f6-13ed-4e69-b43c-17720522b05d" providerId="AD" clId="Web-{E43DB6EA-01AD-F658-1084-376FB4668AEE}" dt="2020-07-29T22:02:06.942" v="290" actId="20577"/>
          <ac:spMkLst>
            <pc:docMk/>
            <pc:sldMk cId="3661084469" sldId="10604"/>
            <ac:spMk id="25" creationId="{C5BBC3B8-ADDF-4C3E-BC0C-9528856B7974}"/>
          </ac:spMkLst>
        </pc:spChg>
        <pc:spChg chg="mod">
          <ac:chgData name="Julie Campbell" userId="S::juliec@audienz.com::df5086f6-13ed-4e69-b43c-17720522b05d" providerId="AD" clId="Web-{E43DB6EA-01AD-F658-1084-376FB4668AEE}" dt="2020-07-29T22:02:07.036" v="291" actId="20577"/>
          <ac:spMkLst>
            <pc:docMk/>
            <pc:sldMk cId="3661084469" sldId="10604"/>
            <ac:spMk id="27" creationId="{1D020F68-74BE-4A2F-88A1-B4D74C81607F}"/>
          </ac:spMkLst>
        </pc:spChg>
        <pc:spChg chg="mod">
          <ac:chgData name="Julie Campbell" userId="S::juliec@audienz.com::df5086f6-13ed-4e69-b43c-17720522b05d" providerId="AD" clId="Web-{E43DB6EA-01AD-F658-1084-376FB4668AEE}" dt="2020-07-29T22:02:07.083" v="292" actId="20577"/>
          <ac:spMkLst>
            <pc:docMk/>
            <pc:sldMk cId="3661084469" sldId="10604"/>
            <ac:spMk id="29" creationId="{8F824810-9C05-4D9B-A1E6-469926289AA7}"/>
          </ac:spMkLst>
        </pc:spChg>
        <pc:spChg chg="mod">
          <ac:chgData name="Julie Campbell" userId="S::juliec@audienz.com::df5086f6-13ed-4e69-b43c-17720522b05d" providerId="AD" clId="Web-{E43DB6EA-01AD-F658-1084-376FB4668AEE}" dt="2020-07-29T22:02:07.145" v="293" actId="20577"/>
          <ac:spMkLst>
            <pc:docMk/>
            <pc:sldMk cId="3661084469" sldId="10604"/>
            <ac:spMk id="30" creationId="{50B8C727-F5A1-4739-BBEE-72AE37DF39F4}"/>
          </ac:spMkLst>
        </pc:spChg>
        <pc:spChg chg="mod">
          <ac:chgData name="Julie Campbell" userId="S::juliec@audienz.com::df5086f6-13ed-4e69-b43c-17720522b05d" providerId="AD" clId="Web-{E43DB6EA-01AD-F658-1084-376FB4668AEE}" dt="2020-07-29T22:02:07.239" v="294" actId="20577"/>
          <ac:spMkLst>
            <pc:docMk/>
            <pc:sldMk cId="3661084469" sldId="10604"/>
            <ac:spMk id="32" creationId="{210940A9-2454-4421-920C-A7EB2D608EE9}"/>
          </ac:spMkLst>
        </pc:spChg>
        <pc:spChg chg="mod">
          <ac:chgData name="Julie Campbell" userId="S::juliec@audienz.com::df5086f6-13ed-4e69-b43c-17720522b05d" providerId="AD" clId="Web-{E43DB6EA-01AD-F658-1084-376FB4668AEE}" dt="2020-07-29T22:02:07.301" v="295" actId="20577"/>
          <ac:spMkLst>
            <pc:docMk/>
            <pc:sldMk cId="3661084469" sldId="10604"/>
            <ac:spMk id="33" creationId="{BB607CC9-695F-4B3B-A993-2FBC9C75870F}"/>
          </ac:spMkLst>
        </pc:spChg>
        <pc:spChg chg="mod">
          <ac:chgData name="Julie Campbell" userId="S::juliec@audienz.com::df5086f6-13ed-4e69-b43c-17720522b05d" providerId="AD" clId="Web-{E43DB6EA-01AD-F658-1084-376FB4668AEE}" dt="2020-07-29T22:02:07.348" v="296" actId="20577"/>
          <ac:spMkLst>
            <pc:docMk/>
            <pc:sldMk cId="3661084469" sldId="10604"/>
            <ac:spMk id="34" creationId="{409FF2B4-FF12-453A-8E65-68D2B1A57F75}"/>
          </ac:spMkLst>
        </pc:spChg>
        <pc:spChg chg="mod">
          <ac:chgData name="Julie Campbell" userId="S::juliec@audienz.com::df5086f6-13ed-4e69-b43c-17720522b05d" providerId="AD" clId="Web-{E43DB6EA-01AD-F658-1084-376FB4668AEE}" dt="2020-07-29T22:02:07.426" v="297" actId="20577"/>
          <ac:spMkLst>
            <pc:docMk/>
            <pc:sldMk cId="3661084469" sldId="10604"/>
            <ac:spMk id="36" creationId="{A3465879-0E03-487C-8B6C-DF99CB437B07}"/>
          </ac:spMkLst>
        </pc:spChg>
        <pc:spChg chg="mod">
          <ac:chgData name="Julie Campbell" userId="S::juliec@audienz.com::df5086f6-13ed-4e69-b43c-17720522b05d" providerId="AD" clId="Web-{E43DB6EA-01AD-F658-1084-376FB4668AEE}" dt="2020-07-29T22:02:07.692" v="303" actId="20577"/>
          <ac:spMkLst>
            <pc:docMk/>
            <pc:sldMk cId="3661084469" sldId="10604"/>
            <ac:spMk id="38" creationId="{45EC1873-558B-4D35-808C-3EBF07A3E565}"/>
          </ac:spMkLst>
        </pc:spChg>
        <pc:spChg chg="mod">
          <ac:chgData name="Julie Campbell" userId="S::juliec@audienz.com::df5086f6-13ed-4e69-b43c-17720522b05d" providerId="AD" clId="Web-{E43DB6EA-01AD-F658-1084-376FB4668AEE}" dt="2020-07-29T22:02:07.473" v="298" actId="20577"/>
          <ac:spMkLst>
            <pc:docMk/>
            <pc:sldMk cId="3661084469" sldId="10604"/>
            <ac:spMk id="47" creationId="{57CD8B16-EE97-4A96-9649-88219B940363}"/>
          </ac:spMkLst>
        </pc:spChg>
        <pc:spChg chg="mod">
          <ac:chgData name="Julie Campbell" userId="S::juliec@audienz.com::df5086f6-13ed-4e69-b43c-17720522b05d" providerId="AD" clId="Web-{E43DB6EA-01AD-F658-1084-376FB4668AEE}" dt="2020-07-29T22:02:07.520" v="299" actId="20577"/>
          <ac:spMkLst>
            <pc:docMk/>
            <pc:sldMk cId="3661084469" sldId="10604"/>
            <ac:spMk id="48" creationId="{D22FB514-CA17-47B4-9953-C438C0BBBAD9}"/>
          </ac:spMkLst>
        </pc:spChg>
        <pc:spChg chg="mod">
          <ac:chgData name="Julie Campbell" userId="S::juliec@audienz.com::df5086f6-13ed-4e69-b43c-17720522b05d" providerId="AD" clId="Web-{E43DB6EA-01AD-F658-1084-376FB4668AEE}" dt="2020-07-29T22:02:07.598" v="300" actId="20577"/>
          <ac:spMkLst>
            <pc:docMk/>
            <pc:sldMk cId="3661084469" sldId="10604"/>
            <ac:spMk id="49" creationId="{671B752C-C6CA-4668-860F-65D2AA993F96}"/>
          </ac:spMkLst>
        </pc:spChg>
        <pc:spChg chg="mod">
          <ac:chgData name="Julie Campbell" userId="S::juliec@audienz.com::df5086f6-13ed-4e69-b43c-17720522b05d" providerId="AD" clId="Web-{E43DB6EA-01AD-F658-1084-376FB4668AEE}" dt="2020-07-29T22:02:07.645" v="301" actId="20577"/>
          <ac:spMkLst>
            <pc:docMk/>
            <pc:sldMk cId="3661084469" sldId="10604"/>
            <ac:spMk id="50" creationId="{5F485983-129E-459B-99DA-457803E74E5D}"/>
          </ac:spMkLst>
        </pc:spChg>
        <pc:spChg chg="mod">
          <ac:chgData name="Julie Campbell" userId="S::juliec@audienz.com::df5086f6-13ed-4e69-b43c-17720522b05d" providerId="AD" clId="Web-{E43DB6EA-01AD-F658-1084-376FB4668AEE}" dt="2020-07-29T22:02:07.676" v="302" actId="20577"/>
          <ac:spMkLst>
            <pc:docMk/>
            <pc:sldMk cId="3661084469" sldId="10604"/>
            <ac:spMk id="54" creationId="{3AD15BEC-8E0A-4384-8E38-E811DA69C113}"/>
          </ac:spMkLst>
        </pc:spChg>
      </pc:sldChg>
      <pc:sldChg chg="modSp">
        <pc:chgData name="Julie Campbell" userId="S::juliec@audienz.com::df5086f6-13ed-4e69-b43c-17720522b05d" providerId="AD" clId="Web-{E43DB6EA-01AD-F658-1084-376FB4668AEE}" dt="2020-07-29T22:02:11.614" v="322" actId="20577"/>
        <pc:sldMkLst>
          <pc:docMk/>
          <pc:sldMk cId="1714833639" sldId="10605"/>
        </pc:sldMkLst>
        <pc:spChg chg="mod">
          <ac:chgData name="Julie Campbell" userId="S::juliec@audienz.com::df5086f6-13ed-4e69-b43c-17720522b05d" providerId="AD" clId="Web-{E43DB6EA-01AD-F658-1084-376FB4668AEE}" dt="2020-07-29T22:02:11.286" v="304" actId="20577"/>
          <ac:spMkLst>
            <pc:docMk/>
            <pc:sldMk cId="1714833639" sldId="10605"/>
            <ac:spMk id="30" creationId="{336E841C-D8B6-448E-8383-7A4F7311C54C}"/>
          </ac:spMkLst>
        </pc:spChg>
        <pc:spChg chg="mod">
          <ac:chgData name="Julie Campbell" userId="S::juliec@audienz.com::df5086f6-13ed-4e69-b43c-17720522b05d" providerId="AD" clId="Web-{E43DB6EA-01AD-F658-1084-376FB4668AEE}" dt="2020-07-29T22:02:11.302" v="305" actId="20577"/>
          <ac:spMkLst>
            <pc:docMk/>
            <pc:sldMk cId="1714833639" sldId="10605"/>
            <ac:spMk id="31" creationId="{CA931388-9468-4DD5-9810-A24A4581D3C1}"/>
          </ac:spMkLst>
        </pc:spChg>
        <pc:spChg chg="mod">
          <ac:chgData name="Julie Campbell" userId="S::juliec@audienz.com::df5086f6-13ed-4e69-b43c-17720522b05d" providerId="AD" clId="Web-{E43DB6EA-01AD-F658-1084-376FB4668AEE}" dt="2020-07-29T22:02:11.333" v="306" actId="20577"/>
          <ac:spMkLst>
            <pc:docMk/>
            <pc:sldMk cId="1714833639" sldId="10605"/>
            <ac:spMk id="32" creationId="{0925EC90-457D-4F14-B297-A4C18DFC322E}"/>
          </ac:spMkLst>
        </pc:spChg>
        <pc:spChg chg="mod">
          <ac:chgData name="Julie Campbell" userId="S::juliec@audienz.com::df5086f6-13ed-4e69-b43c-17720522b05d" providerId="AD" clId="Web-{E43DB6EA-01AD-F658-1084-376FB4668AEE}" dt="2020-07-29T22:02:11.348" v="307" actId="20577"/>
          <ac:spMkLst>
            <pc:docMk/>
            <pc:sldMk cId="1714833639" sldId="10605"/>
            <ac:spMk id="34" creationId="{B8D2C6B4-0880-44B6-8E99-5A0CA4EE3159}"/>
          </ac:spMkLst>
        </pc:spChg>
        <pc:spChg chg="mod">
          <ac:chgData name="Julie Campbell" userId="S::juliec@audienz.com::df5086f6-13ed-4e69-b43c-17720522b05d" providerId="AD" clId="Web-{E43DB6EA-01AD-F658-1084-376FB4668AEE}" dt="2020-07-29T22:02:11.614" v="322" actId="20577"/>
          <ac:spMkLst>
            <pc:docMk/>
            <pc:sldMk cId="1714833639" sldId="10605"/>
            <ac:spMk id="36" creationId="{7E6C34CA-D0A8-4FA9-8E9B-C31F5690C283}"/>
          </ac:spMkLst>
        </pc:spChg>
        <pc:spChg chg="mod">
          <ac:chgData name="Julie Campbell" userId="S::juliec@audienz.com::df5086f6-13ed-4e69-b43c-17720522b05d" providerId="AD" clId="Web-{E43DB6EA-01AD-F658-1084-376FB4668AEE}" dt="2020-07-29T22:02:11.364" v="308" actId="20577"/>
          <ac:spMkLst>
            <pc:docMk/>
            <pc:sldMk cId="1714833639" sldId="10605"/>
            <ac:spMk id="37" creationId="{1AE39559-C32A-487B-8715-BF4EC5855080}"/>
          </ac:spMkLst>
        </pc:spChg>
        <pc:spChg chg="mod">
          <ac:chgData name="Julie Campbell" userId="S::juliec@audienz.com::df5086f6-13ed-4e69-b43c-17720522b05d" providerId="AD" clId="Web-{E43DB6EA-01AD-F658-1084-376FB4668AEE}" dt="2020-07-29T22:02:11.380" v="309" actId="20577"/>
          <ac:spMkLst>
            <pc:docMk/>
            <pc:sldMk cId="1714833639" sldId="10605"/>
            <ac:spMk id="38" creationId="{4BD5E9E8-46E2-42A8-8F63-F67E15A94D86}"/>
          </ac:spMkLst>
        </pc:spChg>
        <pc:spChg chg="mod">
          <ac:chgData name="Julie Campbell" userId="S::juliec@audienz.com::df5086f6-13ed-4e69-b43c-17720522b05d" providerId="AD" clId="Web-{E43DB6EA-01AD-F658-1084-376FB4668AEE}" dt="2020-07-29T22:02:11.411" v="310" actId="20577"/>
          <ac:spMkLst>
            <pc:docMk/>
            <pc:sldMk cId="1714833639" sldId="10605"/>
            <ac:spMk id="40" creationId="{31684DA4-6186-4239-AB88-3550D3A57070}"/>
          </ac:spMkLst>
        </pc:spChg>
        <pc:spChg chg="mod">
          <ac:chgData name="Julie Campbell" userId="S::juliec@audienz.com::df5086f6-13ed-4e69-b43c-17720522b05d" providerId="AD" clId="Web-{E43DB6EA-01AD-F658-1084-376FB4668AEE}" dt="2020-07-29T22:02:11.427" v="311" actId="20577"/>
          <ac:spMkLst>
            <pc:docMk/>
            <pc:sldMk cId="1714833639" sldId="10605"/>
            <ac:spMk id="42" creationId="{3CDD8C9A-A9E5-48B2-BC94-18550428785A}"/>
          </ac:spMkLst>
        </pc:spChg>
        <pc:spChg chg="mod">
          <ac:chgData name="Julie Campbell" userId="S::juliec@audienz.com::df5086f6-13ed-4e69-b43c-17720522b05d" providerId="AD" clId="Web-{E43DB6EA-01AD-F658-1084-376FB4668AEE}" dt="2020-07-29T22:02:11.442" v="312" actId="20577"/>
          <ac:spMkLst>
            <pc:docMk/>
            <pc:sldMk cId="1714833639" sldId="10605"/>
            <ac:spMk id="43" creationId="{7B98596B-78B5-468A-9DB1-F4A5036880CC}"/>
          </ac:spMkLst>
        </pc:spChg>
        <pc:spChg chg="mod">
          <ac:chgData name="Julie Campbell" userId="S::juliec@audienz.com::df5086f6-13ed-4e69-b43c-17720522b05d" providerId="AD" clId="Web-{E43DB6EA-01AD-F658-1084-376FB4668AEE}" dt="2020-07-29T22:02:11.473" v="313" actId="20577"/>
          <ac:spMkLst>
            <pc:docMk/>
            <pc:sldMk cId="1714833639" sldId="10605"/>
            <ac:spMk id="45" creationId="{CB3C713C-C112-4B75-8CAF-C47AC12A1F3C}"/>
          </ac:spMkLst>
        </pc:spChg>
        <pc:spChg chg="mod">
          <ac:chgData name="Julie Campbell" userId="S::juliec@audienz.com::df5086f6-13ed-4e69-b43c-17720522b05d" providerId="AD" clId="Web-{E43DB6EA-01AD-F658-1084-376FB4668AEE}" dt="2020-07-29T22:02:11.489" v="314" actId="20577"/>
          <ac:spMkLst>
            <pc:docMk/>
            <pc:sldMk cId="1714833639" sldId="10605"/>
            <ac:spMk id="46" creationId="{AD4C91F0-89E0-4B44-A168-81A293B4943F}"/>
          </ac:spMkLst>
        </pc:spChg>
        <pc:spChg chg="mod">
          <ac:chgData name="Julie Campbell" userId="S::juliec@audienz.com::df5086f6-13ed-4e69-b43c-17720522b05d" providerId="AD" clId="Web-{E43DB6EA-01AD-F658-1084-376FB4668AEE}" dt="2020-07-29T22:02:11.505" v="315" actId="20577"/>
          <ac:spMkLst>
            <pc:docMk/>
            <pc:sldMk cId="1714833639" sldId="10605"/>
            <ac:spMk id="47" creationId="{531BFE86-CC09-4574-A6DD-D5A2655A1C29}"/>
          </ac:spMkLst>
        </pc:spChg>
        <pc:spChg chg="mod">
          <ac:chgData name="Julie Campbell" userId="S::juliec@audienz.com::df5086f6-13ed-4e69-b43c-17720522b05d" providerId="AD" clId="Web-{E43DB6EA-01AD-F658-1084-376FB4668AEE}" dt="2020-07-29T22:02:11.536" v="316" actId="20577"/>
          <ac:spMkLst>
            <pc:docMk/>
            <pc:sldMk cId="1714833639" sldId="10605"/>
            <ac:spMk id="49" creationId="{B8E753CC-563C-404F-A7A0-AEB28E6C571E}"/>
          </ac:spMkLst>
        </pc:spChg>
        <pc:spChg chg="mod">
          <ac:chgData name="Julie Campbell" userId="S::juliec@audienz.com::df5086f6-13ed-4e69-b43c-17720522b05d" providerId="AD" clId="Web-{E43DB6EA-01AD-F658-1084-376FB4668AEE}" dt="2020-07-29T22:02:11.552" v="317" actId="20577"/>
          <ac:spMkLst>
            <pc:docMk/>
            <pc:sldMk cId="1714833639" sldId="10605"/>
            <ac:spMk id="51" creationId="{A5F974D8-0B42-4B7B-A81D-AEEA3FBCE027}"/>
          </ac:spMkLst>
        </pc:spChg>
        <pc:spChg chg="mod">
          <ac:chgData name="Julie Campbell" userId="S::juliec@audienz.com::df5086f6-13ed-4e69-b43c-17720522b05d" providerId="AD" clId="Web-{E43DB6EA-01AD-F658-1084-376FB4668AEE}" dt="2020-07-29T22:02:11.567" v="318" actId="20577"/>
          <ac:spMkLst>
            <pc:docMk/>
            <pc:sldMk cId="1714833639" sldId="10605"/>
            <ac:spMk id="52" creationId="{7C847842-148F-44D3-84A1-B0BB4A110544}"/>
          </ac:spMkLst>
        </pc:spChg>
        <pc:spChg chg="mod">
          <ac:chgData name="Julie Campbell" userId="S::juliec@audienz.com::df5086f6-13ed-4e69-b43c-17720522b05d" providerId="AD" clId="Web-{E43DB6EA-01AD-F658-1084-376FB4668AEE}" dt="2020-07-29T22:02:11.583" v="319" actId="20577"/>
          <ac:spMkLst>
            <pc:docMk/>
            <pc:sldMk cId="1714833639" sldId="10605"/>
            <ac:spMk id="53" creationId="{17F63154-F394-4AFC-A0D3-6A119891036D}"/>
          </ac:spMkLst>
        </pc:spChg>
        <pc:spChg chg="mod">
          <ac:chgData name="Julie Campbell" userId="S::juliec@audienz.com::df5086f6-13ed-4e69-b43c-17720522b05d" providerId="AD" clId="Web-{E43DB6EA-01AD-F658-1084-376FB4668AEE}" dt="2020-07-29T22:02:11.598" v="320" actId="20577"/>
          <ac:spMkLst>
            <pc:docMk/>
            <pc:sldMk cId="1714833639" sldId="10605"/>
            <ac:spMk id="54" creationId="{95D8F139-F76F-49C8-AB5D-D2356B37086C}"/>
          </ac:spMkLst>
        </pc:spChg>
        <pc:spChg chg="mod">
          <ac:chgData name="Julie Campbell" userId="S::juliec@audienz.com::df5086f6-13ed-4e69-b43c-17720522b05d" providerId="AD" clId="Web-{E43DB6EA-01AD-F658-1084-376FB4668AEE}" dt="2020-07-29T22:02:11.598" v="321" actId="20577"/>
          <ac:spMkLst>
            <pc:docMk/>
            <pc:sldMk cId="1714833639" sldId="10605"/>
            <ac:spMk id="58" creationId="{220E3FA6-BC0F-463F-9DC5-05E9511F239D}"/>
          </ac:spMkLst>
        </pc:spChg>
      </pc:sldChg>
      <pc:sldChg chg="modSp">
        <pc:chgData name="Julie Campbell" userId="S::juliec@audienz.com::df5086f6-13ed-4e69-b43c-17720522b05d" providerId="AD" clId="Web-{E43DB6EA-01AD-F658-1084-376FB4668AEE}" dt="2020-07-29T22:02:17.755" v="341" actId="20577"/>
        <pc:sldMkLst>
          <pc:docMk/>
          <pc:sldMk cId="2444020680" sldId="10606"/>
        </pc:sldMkLst>
        <pc:spChg chg="mod">
          <ac:chgData name="Julie Campbell" userId="S::juliec@audienz.com::df5086f6-13ed-4e69-b43c-17720522b05d" providerId="AD" clId="Web-{E43DB6EA-01AD-F658-1084-376FB4668AEE}" dt="2020-07-29T22:02:17.755" v="341" actId="20577"/>
          <ac:spMkLst>
            <pc:docMk/>
            <pc:sldMk cId="2444020680" sldId="10606"/>
            <ac:spMk id="33" creationId="{32498328-7051-424D-B48F-6F3B2162824E}"/>
          </ac:spMkLst>
        </pc:spChg>
        <pc:spChg chg="mod">
          <ac:chgData name="Julie Campbell" userId="S::juliec@audienz.com::df5086f6-13ed-4e69-b43c-17720522b05d" providerId="AD" clId="Web-{E43DB6EA-01AD-F658-1084-376FB4668AEE}" dt="2020-07-29T22:02:17.474" v="323" actId="20577"/>
          <ac:spMkLst>
            <pc:docMk/>
            <pc:sldMk cId="2444020680" sldId="10606"/>
            <ac:spMk id="37" creationId="{39FF92CA-4275-4EFB-8488-CDCDB7DB47AF}"/>
          </ac:spMkLst>
        </pc:spChg>
        <pc:spChg chg="mod">
          <ac:chgData name="Julie Campbell" userId="S::juliec@audienz.com::df5086f6-13ed-4e69-b43c-17720522b05d" providerId="AD" clId="Web-{E43DB6EA-01AD-F658-1084-376FB4668AEE}" dt="2020-07-29T22:02:17.489" v="324" actId="20577"/>
          <ac:spMkLst>
            <pc:docMk/>
            <pc:sldMk cId="2444020680" sldId="10606"/>
            <ac:spMk id="42" creationId="{9FB6FAB5-30D2-4C30-B020-C9B72FD441DA}"/>
          </ac:spMkLst>
        </pc:spChg>
        <pc:spChg chg="mod">
          <ac:chgData name="Julie Campbell" userId="S::juliec@audienz.com::df5086f6-13ed-4e69-b43c-17720522b05d" providerId="AD" clId="Web-{E43DB6EA-01AD-F658-1084-376FB4668AEE}" dt="2020-07-29T22:02:17.521" v="325" actId="20577"/>
          <ac:spMkLst>
            <pc:docMk/>
            <pc:sldMk cId="2444020680" sldId="10606"/>
            <ac:spMk id="43" creationId="{1EBFE7C9-B2E7-43B9-BA48-65A42EDA560C}"/>
          </ac:spMkLst>
        </pc:spChg>
        <pc:spChg chg="mod">
          <ac:chgData name="Julie Campbell" userId="S::juliec@audienz.com::df5086f6-13ed-4e69-b43c-17720522b05d" providerId="AD" clId="Web-{E43DB6EA-01AD-F658-1084-376FB4668AEE}" dt="2020-07-29T22:02:17.521" v="326" actId="20577"/>
          <ac:spMkLst>
            <pc:docMk/>
            <pc:sldMk cId="2444020680" sldId="10606"/>
            <ac:spMk id="45" creationId="{71DF2126-C705-4B36-A13B-DF9BB38F2B4A}"/>
          </ac:spMkLst>
        </pc:spChg>
        <pc:spChg chg="mod">
          <ac:chgData name="Julie Campbell" userId="S::juliec@audienz.com::df5086f6-13ed-4e69-b43c-17720522b05d" providerId="AD" clId="Web-{E43DB6EA-01AD-F658-1084-376FB4668AEE}" dt="2020-07-29T22:02:17.536" v="327" actId="20577"/>
          <ac:spMkLst>
            <pc:docMk/>
            <pc:sldMk cId="2444020680" sldId="10606"/>
            <ac:spMk id="47" creationId="{50EBC4C3-E710-4C7F-B8E3-D6A8379ACF85}"/>
          </ac:spMkLst>
        </pc:spChg>
        <pc:spChg chg="mod">
          <ac:chgData name="Julie Campbell" userId="S::juliec@audienz.com::df5086f6-13ed-4e69-b43c-17720522b05d" providerId="AD" clId="Web-{E43DB6EA-01AD-F658-1084-376FB4668AEE}" dt="2020-07-29T22:02:17.552" v="328" actId="20577"/>
          <ac:spMkLst>
            <pc:docMk/>
            <pc:sldMk cId="2444020680" sldId="10606"/>
            <ac:spMk id="48" creationId="{FCF01738-FC91-4F07-80D8-2F6838B9876C}"/>
          </ac:spMkLst>
        </pc:spChg>
        <pc:spChg chg="mod">
          <ac:chgData name="Julie Campbell" userId="S::juliec@audienz.com::df5086f6-13ed-4e69-b43c-17720522b05d" providerId="AD" clId="Web-{E43DB6EA-01AD-F658-1084-376FB4668AEE}" dt="2020-07-29T22:02:17.583" v="329" actId="20577"/>
          <ac:spMkLst>
            <pc:docMk/>
            <pc:sldMk cId="2444020680" sldId="10606"/>
            <ac:spMk id="50" creationId="{04ED0AAF-7E6A-47E7-91DF-605AE7CB11B0}"/>
          </ac:spMkLst>
        </pc:spChg>
        <pc:spChg chg="mod">
          <ac:chgData name="Julie Campbell" userId="S::juliec@audienz.com::df5086f6-13ed-4e69-b43c-17720522b05d" providerId="AD" clId="Web-{E43DB6EA-01AD-F658-1084-376FB4668AEE}" dt="2020-07-29T22:02:17.599" v="330" actId="20577"/>
          <ac:spMkLst>
            <pc:docMk/>
            <pc:sldMk cId="2444020680" sldId="10606"/>
            <ac:spMk id="52" creationId="{53790321-DDBD-46F7-A893-A0F8FE3AECA0}"/>
          </ac:spMkLst>
        </pc:spChg>
        <pc:spChg chg="mod">
          <ac:chgData name="Julie Campbell" userId="S::juliec@audienz.com::df5086f6-13ed-4e69-b43c-17720522b05d" providerId="AD" clId="Web-{E43DB6EA-01AD-F658-1084-376FB4668AEE}" dt="2020-07-29T22:02:17.614" v="331" actId="20577"/>
          <ac:spMkLst>
            <pc:docMk/>
            <pc:sldMk cId="2444020680" sldId="10606"/>
            <ac:spMk id="53" creationId="{0083F9D1-D832-4B58-B6E9-94356C7B7529}"/>
          </ac:spMkLst>
        </pc:spChg>
        <pc:spChg chg="mod">
          <ac:chgData name="Julie Campbell" userId="S::juliec@audienz.com::df5086f6-13ed-4e69-b43c-17720522b05d" providerId="AD" clId="Web-{E43DB6EA-01AD-F658-1084-376FB4668AEE}" dt="2020-07-29T22:02:17.630" v="332" actId="20577"/>
          <ac:spMkLst>
            <pc:docMk/>
            <pc:sldMk cId="2444020680" sldId="10606"/>
            <ac:spMk id="55" creationId="{A3F0621D-FD42-4A2F-92DB-401DFAA0E6A5}"/>
          </ac:spMkLst>
        </pc:spChg>
        <pc:spChg chg="mod">
          <ac:chgData name="Julie Campbell" userId="S::juliec@audienz.com::df5086f6-13ed-4e69-b43c-17720522b05d" providerId="AD" clId="Web-{E43DB6EA-01AD-F658-1084-376FB4668AEE}" dt="2020-07-29T22:02:17.646" v="333" actId="20577"/>
          <ac:spMkLst>
            <pc:docMk/>
            <pc:sldMk cId="2444020680" sldId="10606"/>
            <ac:spMk id="56" creationId="{8C78AAD3-DA78-4547-8123-3CFBA76EFB89}"/>
          </ac:spMkLst>
        </pc:spChg>
        <pc:spChg chg="mod">
          <ac:chgData name="Julie Campbell" userId="S::juliec@audienz.com::df5086f6-13ed-4e69-b43c-17720522b05d" providerId="AD" clId="Web-{E43DB6EA-01AD-F658-1084-376FB4668AEE}" dt="2020-07-29T22:02:17.661" v="334" actId="20577"/>
          <ac:spMkLst>
            <pc:docMk/>
            <pc:sldMk cId="2444020680" sldId="10606"/>
            <ac:spMk id="57" creationId="{5C41EBA1-5309-464F-AE70-B9852D97078D}"/>
          </ac:spMkLst>
        </pc:spChg>
        <pc:spChg chg="mod">
          <ac:chgData name="Julie Campbell" userId="S::juliec@audienz.com::df5086f6-13ed-4e69-b43c-17720522b05d" providerId="AD" clId="Web-{E43DB6EA-01AD-F658-1084-376FB4668AEE}" dt="2020-07-29T22:02:17.693" v="335" actId="20577"/>
          <ac:spMkLst>
            <pc:docMk/>
            <pc:sldMk cId="2444020680" sldId="10606"/>
            <ac:spMk id="59" creationId="{395A4FB8-63B3-4D93-B2EA-DF39C0C2A89F}"/>
          </ac:spMkLst>
        </pc:spChg>
        <pc:spChg chg="mod">
          <ac:chgData name="Julie Campbell" userId="S::juliec@audienz.com::df5086f6-13ed-4e69-b43c-17720522b05d" providerId="AD" clId="Web-{E43DB6EA-01AD-F658-1084-376FB4668AEE}" dt="2020-07-29T22:02:17.708" v="336" actId="20577"/>
          <ac:spMkLst>
            <pc:docMk/>
            <pc:sldMk cId="2444020680" sldId="10606"/>
            <ac:spMk id="68" creationId="{6742FC15-B3F3-457D-83F5-8F5E4DD72669}"/>
          </ac:spMkLst>
        </pc:spChg>
        <pc:spChg chg="mod">
          <ac:chgData name="Julie Campbell" userId="S::juliec@audienz.com::df5086f6-13ed-4e69-b43c-17720522b05d" providerId="AD" clId="Web-{E43DB6EA-01AD-F658-1084-376FB4668AEE}" dt="2020-07-29T22:02:17.724" v="337" actId="20577"/>
          <ac:spMkLst>
            <pc:docMk/>
            <pc:sldMk cId="2444020680" sldId="10606"/>
            <ac:spMk id="69" creationId="{D9038CDF-0AC2-4D1D-8C8A-2426DE5779DA}"/>
          </ac:spMkLst>
        </pc:spChg>
        <pc:spChg chg="mod">
          <ac:chgData name="Julie Campbell" userId="S::juliec@audienz.com::df5086f6-13ed-4e69-b43c-17720522b05d" providerId="AD" clId="Web-{E43DB6EA-01AD-F658-1084-376FB4668AEE}" dt="2020-07-29T22:02:17.724" v="338" actId="20577"/>
          <ac:spMkLst>
            <pc:docMk/>
            <pc:sldMk cId="2444020680" sldId="10606"/>
            <ac:spMk id="70" creationId="{B9D74C0A-9075-4A7F-BED3-B3A55DE3BD58}"/>
          </ac:spMkLst>
        </pc:spChg>
        <pc:spChg chg="mod">
          <ac:chgData name="Julie Campbell" userId="S::juliec@audienz.com::df5086f6-13ed-4e69-b43c-17720522b05d" providerId="AD" clId="Web-{E43DB6EA-01AD-F658-1084-376FB4668AEE}" dt="2020-07-29T22:02:17.739" v="339" actId="20577"/>
          <ac:spMkLst>
            <pc:docMk/>
            <pc:sldMk cId="2444020680" sldId="10606"/>
            <ac:spMk id="71" creationId="{B1B28BB0-5028-4580-9719-DD3AC996FB8C}"/>
          </ac:spMkLst>
        </pc:spChg>
        <pc:spChg chg="mod">
          <ac:chgData name="Julie Campbell" userId="S::juliec@audienz.com::df5086f6-13ed-4e69-b43c-17720522b05d" providerId="AD" clId="Web-{E43DB6EA-01AD-F658-1084-376FB4668AEE}" dt="2020-07-29T22:02:17.755" v="340" actId="20577"/>
          <ac:spMkLst>
            <pc:docMk/>
            <pc:sldMk cId="2444020680" sldId="10606"/>
            <ac:spMk id="75" creationId="{58BEB5A5-8BB9-4570-9A83-7008CD28F1CF}"/>
          </ac:spMkLst>
        </pc:spChg>
      </pc:sldChg>
      <pc:sldChg chg="delCm">
        <pc:chgData name="Julie Campbell" userId="S::juliec@audienz.com::df5086f6-13ed-4e69-b43c-17720522b05d" providerId="AD" clId="Web-{E43DB6EA-01AD-F658-1084-376FB4668AEE}" dt="2020-07-29T22:02:36.459" v="363"/>
        <pc:sldMkLst>
          <pc:docMk/>
          <pc:sldMk cId="3581199990" sldId="10611"/>
        </pc:sldMkLst>
      </pc:sldChg>
      <pc:sldChg chg="delCm">
        <pc:chgData name="Julie Campbell" userId="S::juliec@audienz.com::df5086f6-13ed-4e69-b43c-17720522b05d" providerId="AD" clId="Web-{E43DB6EA-01AD-F658-1084-376FB4668AEE}" dt="2020-07-29T22:02:48.726" v="364"/>
        <pc:sldMkLst>
          <pc:docMk/>
          <pc:sldMk cId="1255054906" sldId="10612"/>
        </pc:sldMkLst>
      </pc:sldChg>
      <pc:sldChg chg="delCm">
        <pc:chgData name="Julie Campbell" userId="S::juliec@audienz.com::df5086f6-13ed-4e69-b43c-17720522b05d" providerId="AD" clId="Web-{E43DB6EA-01AD-F658-1084-376FB4668AEE}" dt="2020-07-29T22:02:58.773" v="365"/>
        <pc:sldMkLst>
          <pc:docMk/>
          <pc:sldMk cId="2413753554" sldId="10613"/>
        </pc:sldMkLst>
      </pc:sldChg>
      <pc:sldChg chg="modSp delCm">
        <pc:chgData name="Julie Campbell" userId="S::juliec@audienz.com::df5086f6-13ed-4e69-b43c-17720522b05d" providerId="AD" clId="Web-{E43DB6EA-01AD-F658-1084-376FB4668AEE}" dt="2020-07-29T22:00:27.920" v="172" actId="20577"/>
        <pc:sldMkLst>
          <pc:docMk/>
          <pc:sldMk cId="3325234255" sldId="10870"/>
        </pc:sldMkLst>
        <pc:spChg chg="mod">
          <ac:chgData name="Julie Campbell" userId="S::juliec@audienz.com::df5086f6-13ed-4e69-b43c-17720522b05d" providerId="AD" clId="Web-{E43DB6EA-01AD-F658-1084-376FB4668AEE}" dt="2020-07-29T22:00:27.858" v="167" actId="20577"/>
          <ac:spMkLst>
            <pc:docMk/>
            <pc:sldMk cId="3325234255" sldId="10870"/>
            <ac:spMk id="12" creationId="{6DAEDC46-FBFC-4DAC-B30D-5688E8115AF4}"/>
          </ac:spMkLst>
        </pc:spChg>
        <pc:spChg chg="mod">
          <ac:chgData name="Julie Campbell" userId="S::juliec@audienz.com::df5086f6-13ed-4e69-b43c-17720522b05d" providerId="AD" clId="Web-{E43DB6EA-01AD-F658-1084-376FB4668AEE}" dt="2020-07-29T22:00:27.874" v="168" actId="20577"/>
          <ac:spMkLst>
            <pc:docMk/>
            <pc:sldMk cId="3325234255" sldId="10870"/>
            <ac:spMk id="16" creationId="{F759F2B3-0F8F-4071-A4B9-25DA99286CC1}"/>
          </ac:spMkLst>
        </pc:spChg>
        <pc:spChg chg="mod">
          <ac:chgData name="Julie Campbell" userId="S::juliec@audienz.com::df5086f6-13ed-4e69-b43c-17720522b05d" providerId="AD" clId="Web-{E43DB6EA-01AD-F658-1084-376FB4668AEE}" dt="2020-07-29T22:00:27.874" v="169" actId="20577"/>
          <ac:spMkLst>
            <pc:docMk/>
            <pc:sldMk cId="3325234255" sldId="10870"/>
            <ac:spMk id="17" creationId="{4E3DCEFE-BC6C-43F7-8B62-E796014E490B}"/>
          </ac:spMkLst>
        </pc:spChg>
        <pc:spChg chg="mod">
          <ac:chgData name="Julie Campbell" userId="S::juliec@audienz.com::df5086f6-13ed-4e69-b43c-17720522b05d" providerId="AD" clId="Web-{E43DB6EA-01AD-F658-1084-376FB4668AEE}" dt="2020-07-29T22:00:27.889" v="170" actId="20577"/>
          <ac:spMkLst>
            <pc:docMk/>
            <pc:sldMk cId="3325234255" sldId="10870"/>
            <ac:spMk id="20" creationId="{B1B51179-1609-4ACB-99CC-D0C6E8C69D50}"/>
          </ac:spMkLst>
        </pc:spChg>
        <pc:spChg chg="mod">
          <ac:chgData name="Julie Campbell" userId="S::juliec@audienz.com::df5086f6-13ed-4e69-b43c-17720522b05d" providerId="AD" clId="Web-{E43DB6EA-01AD-F658-1084-376FB4668AEE}" dt="2020-07-29T22:00:27.920" v="172" actId="20577"/>
          <ac:spMkLst>
            <pc:docMk/>
            <pc:sldMk cId="3325234255" sldId="10870"/>
            <ac:spMk id="21" creationId="{A0E15835-B995-497D-AD70-38CD9F91AFE4}"/>
          </ac:spMkLst>
        </pc:spChg>
      </pc:sldChg>
      <pc:sldChg chg="modSp">
        <pc:chgData name="Julie Campbell" userId="S::juliec@audienz.com::df5086f6-13ed-4e69-b43c-17720522b05d" providerId="AD" clId="Web-{E43DB6EA-01AD-F658-1084-376FB4668AEE}" dt="2020-07-29T22:00:39.593" v="184" actId="20577"/>
        <pc:sldMkLst>
          <pc:docMk/>
          <pc:sldMk cId="3958922467" sldId="10873"/>
        </pc:sldMkLst>
        <pc:spChg chg="mod">
          <ac:chgData name="Julie Campbell" userId="S::juliec@audienz.com::df5086f6-13ed-4e69-b43c-17720522b05d" providerId="AD" clId="Web-{E43DB6EA-01AD-F658-1084-376FB4668AEE}" dt="2020-07-29T22:00:39.546" v="179" actId="20577"/>
          <ac:spMkLst>
            <pc:docMk/>
            <pc:sldMk cId="3958922467" sldId="10873"/>
            <ac:spMk id="14" creationId="{6153C10D-CDAB-4A69-B4BC-FF8D4BBD41E7}"/>
          </ac:spMkLst>
        </pc:spChg>
        <pc:spChg chg="mod">
          <ac:chgData name="Julie Campbell" userId="S::juliec@audienz.com::df5086f6-13ed-4e69-b43c-17720522b05d" providerId="AD" clId="Web-{E43DB6EA-01AD-F658-1084-376FB4668AEE}" dt="2020-07-29T22:00:39.546" v="180" actId="20577"/>
          <ac:spMkLst>
            <pc:docMk/>
            <pc:sldMk cId="3958922467" sldId="10873"/>
            <ac:spMk id="18" creationId="{F1BCA5B5-D766-4481-91A6-B13D1F6C249F}"/>
          </ac:spMkLst>
        </pc:spChg>
        <pc:spChg chg="mod">
          <ac:chgData name="Julie Campbell" userId="S::juliec@audienz.com::df5086f6-13ed-4e69-b43c-17720522b05d" providerId="AD" clId="Web-{E43DB6EA-01AD-F658-1084-376FB4668AEE}" dt="2020-07-29T22:00:39.546" v="181" actId="20577"/>
          <ac:spMkLst>
            <pc:docMk/>
            <pc:sldMk cId="3958922467" sldId="10873"/>
            <ac:spMk id="19" creationId="{B311BEAC-48A3-4564-A8EB-963D65476F99}"/>
          </ac:spMkLst>
        </pc:spChg>
        <pc:spChg chg="mod">
          <ac:chgData name="Julie Campbell" userId="S::juliec@audienz.com::df5086f6-13ed-4e69-b43c-17720522b05d" providerId="AD" clId="Web-{E43DB6EA-01AD-F658-1084-376FB4668AEE}" dt="2020-07-29T22:00:39.562" v="182" actId="20577"/>
          <ac:spMkLst>
            <pc:docMk/>
            <pc:sldMk cId="3958922467" sldId="10873"/>
            <ac:spMk id="20" creationId="{AE99AD1D-D686-4C71-B6EC-B087B6A27CB3}"/>
          </ac:spMkLst>
        </pc:spChg>
        <pc:spChg chg="mod">
          <ac:chgData name="Julie Campbell" userId="S::juliec@audienz.com::df5086f6-13ed-4e69-b43c-17720522b05d" providerId="AD" clId="Web-{E43DB6EA-01AD-F658-1084-376FB4668AEE}" dt="2020-07-29T22:00:39.593" v="184" actId="20577"/>
          <ac:spMkLst>
            <pc:docMk/>
            <pc:sldMk cId="3958922467" sldId="10873"/>
            <ac:spMk id="24" creationId="{3C9ED437-065D-40C0-81D0-CD312CC390E6}"/>
          </ac:spMkLst>
        </pc:spChg>
      </pc:sldChg>
      <pc:sldChg chg="modSp">
        <pc:chgData name="Julie Campbell" userId="S::juliec@audienz.com::df5086f6-13ed-4e69-b43c-17720522b05d" providerId="AD" clId="Web-{E43DB6EA-01AD-F658-1084-376FB4668AEE}" dt="2020-07-29T22:02:28.615" v="362" actId="20577"/>
        <pc:sldMkLst>
          <pc:docMk/>
          <pc:sldMk cId="2459196527" sldId="2076138645"/>
        </pc:sldMkLst>
        <pc:spChg chg="mod">
          <ac:chgData name="Julie Campbell" userId="S::juliec@audienz.com::df5086f6-13ed-4e69-b43c-17720522b05d" providerId="AD" clId="Web-{E43DB6EA-01AD-F658-1084-376FB4668AEE}" dt="2020-07-29T22:02:28.428" v="348" actId="20577"/>
          <ac:spMkLst>
            <pc:docMk/>
            <pc:sldMk cId="2459196527" sldId="2076138645"/>
            <ac:spMk id="4" creationId="{EA2C955B-89B0-48F4-8E80-1D8B023B771D}"/>
          </ac:spMkLst>
        </pc:spChg>
        <pc:spChg chg="mod">
          <ac:chgData name="Julie Campbell" userId="S::juliec@audienz.com::df5086f6-13ed-4e69-b43c-17720522b05d" providerId="AD" clId="Web-{E43DB6EA-01AD-F658-1084-376FB4668AEE}" dt="2020-07-29T22:02:28.443" v="350" actId="20577"/>
          <ac:spMkLst>
            <pc:docMk/>
            <pc:sldMk cId="2459196527" sldId="2076138645"/>
            <ac:spMk id="20" creationId="{13372E2C-242A-45F3-AD68-F04F5266D891}"/>
          </ac:spMkLst>
        </pc:spChg>
        <pc:spChg chg="mod">
          <ac:chgData name="Julie Campbell" userId="S::juliec@audienz.com::df5086f6-13ed-4e69-b43c-17720522b05d" providerId="AD" clId="Web-{E43DB6EA-01AD-F658-1084-376FB4668AEE}" dt="2020-07-29T22:02:28.459" v="351" actId="20577"/>
          <ac:spMkLst>
            <pc:docMk/>
            <pc:sldMk cId="2459196527" sldId="2076138645"/>
            <ac:spMk id="21" creationId="{D21EE6C6-F161-4974-A316-421594A23550}"/>
          </ac:spMkLst>
        </pc:spChg>
        <pc:spChg chg="mod">
          <ac:chgData name="Julie Campbell" userId="S::juliec@audienz.com::df5086f6-13ed-4e69-b43c-17720522b05d" providerId="AD" clId="Web-{E43DB6EA-01AD-F658-1084-376FB4668AEE}" dt="2020-07-29T22:02:28.474" v="352" actId="20577"/>
          <ac:spMkLst>
            <pc:docMk/>
            <pc:sldMk cId="2459196527" sldId="2076138645"/>
            <ac:spMk id="24" creationId="{89500CB4-3A5C-4AD4-BA26-FAD5F303FB84}"/>
          </ac:spMkLst>
        </pc:spChg>
        <pc:spChg chg="mod">
          <ac:chgData name="Julie Campbell" userId="S::juliec@audienz.com::df5086f6-13ed-4e69-b43c-17720522b05d" providerId="AD" clId="Web-{E43DB6EA-01AD-F658-1084-376FB4668AEE}" dt="2020-07-29T22:02:28.490" v="353" actId="20577"/>
          <ac:spMkLst>
            <pc:docMk/>
            <pc:sldMk cId="2459196527" sldId="2076138645"/>
            <ac:spMk id="25" creationId="{CBA17FCE-AFE5-4D78-84C3-6F531CA44502}"/>
          </ac:spMkLst>
        </pc:spChg>
        <pc:spChg chg="mod">
          <ac:chgData name="Julie Campbell" userId="S::juliec@audienz.com::df5086f6-13ed-4e69-b43c-17720522b05d" providerId="AD" clId="Web-{E43DB6EA-01AD-F658-1084-376FB4668AEE}" dt="2020-07-29T22:02:28.506" v="354" actId="20577"/>
          <ac:spMkLst>
            <pc:docMk/>
            <pc:sldMk cId="2459196527" sldId="2076138645"/>
            <ac:spMk id="28" creationId="{68284191-F5B5-4EE5-8F05-D8D03F85A8FA}"/>
          </ac:spMkLst>
        </pc:spChg>
        <pc:spChg chg="mod">
          <ac:chgData name="Julie Campbell" userId="S::juliec@audienz.com::df5086f6-13ed-4e69-b43c-17720522b05d" providerId="AD" clId="Web-{E43DB6EA-01AD-F658-1084-376FB4668AEE}" dt="2020-07-29T22:02:28.521" v="355" actId="20577"/>
          <ac:spMkLst>
            <pc:docMk/>
            <pc:sldMk cId="2459196527" sldId="2076138645"/>
            <ac:spMk id="29" creationId="{4ADD9E8D-1C5A-4C99-AFFE-B4B4A82F9D3A}"/>
          </ac:spMkLst>
        </pc:spChg>
        <pc:spChg chg="mod">
          <ac:chgData name="Julie Campbell" userId="S::juliec@audienz.com::df5086f6-13ed-4e69-b43c-17720522b05d" providerId="AD" clId="Web-{E43DB6EA-01AD-F658-1084-376FB4668AEE}" dt="2020-07-29T22:02:28.537" v="356" actId="20577"/>
          <ac:spMkLst>
            <pc:docMk/>
            <pc:sldMk cId="2459196527" sldId="2076138645"/>
            <ac:spMk id="44" creationId="{17ACED1C-34FF-405A-9D32-A95C9B284960}"/>
          </ac:spMkLst>
        </pc:spChg>
        <pc:spChg chg="mod">
          <ac:chgData name="Julie Campbell" userId="S::juliec@audienz.com::df5086f6-13ed-4e69-b43c-17720522b05d" providerId="AD" clId="Web-{E43DB6EA-01AD-F658-1084-376FB4668AEE}" dt="2020-07-29T22:02:28.553" v="357" actId="20577"/>
          <ac:spMkLst>
            <pc:docMk/>
            <pc:sldMk cId="2459196527" sldId="2076138645"/>
            <ac:spMk id="45" creationId="{F8157CBF-CD06-4E96-BC40-09CC04A59827}"/>
          </ac:spMkLst>
        </pc:spChg>
        <pc:spChg chg="mod">
          <ac:chgData name="Julie Campbell" userId="S::juliec@audienz.com::df5086f6-13ed-4e69-b43c-17720522b05d" providerId="AD" clId="Web-{E43DB6EA-01AD-F658-1084-376FB4668AEE}" dt="2020-07-29T22:02:28.568" v="358" actId="20577"/>
          <ac:spMkLst>
            <pc:docMk/>
            <pc:sldMk cId="2459196527" sldId="2076138645"/>
            <ac:spMk id="46" creationId="{5CFA4CC9-0D2B-4AF9-A768-0D9C5BAA51AD}"/>
          </ac:spMkLst>
        </pc:spChg>
        <pc:spChg chg="mod">
          <ac:chgData name="Julie Campbell" userId="S::juliec@audienz.com::df5086f6-13ed-4e69-b43c-17720522b05d" providerId="AD" clId="Web-{E43DB6EA-01AD-F658-1084-376FB4668AEE}" dt="2020-07-29T22:02:28.584" v="359" actId="20577"/>
          <ac:spMkLst>
            <pc:docMk/>
            <pc:sldMk cId="2459196527" sldId="2076138645"/>
            <ac:spMk id="47" creationId="{0D6C1010-2285-4893-BF3F-9B405C595F88}"/>
          </ac:spMkLst>
        </pc:spChg>
        <pc:spChg chg="mod">
          <ac:chgData name="Julie Campbell" userId="S::juliec@audienz.com::df5086f6-13ed-4e69-b43c-17720522b05d" providerId="AD" clId="Web-{E43DB6EA-01AD-F658-1084-376FB4668AEE}" dt="2020-07-29T22:02:28.599" v="360" actId="20577"/>
          <ac:spMkLst>
            <pc:docMk/>
            <pc:sldMk cId="2459196527" sldId="2076138645"/>
            <ac:spMk id="48" creationId="{307DE7D0-D958-4AB9-850C-6661DB877DE7}"/>
          </ac:spMkLst>
        </pc:spChg>
        <pc:spChg chg="mod">
          <ac:chgData name="Julie Campbell" userId="S::juliec@audienz.com::df5086f6-13ed-4e69-b43c-17720522b05d" providerId="AD" clId="Web-{E43DB6EA-01AD-F658-1084-376FB4668AEE}" dt="2020-07-29T22:02:28.615" v="361" actId="20577"/>
          <ac:spMkLst>
            <pc:docMk/>
            <pc:sldMk cId="2459196527" sldId="2076138645"/>
            <ac:spMk id="68" creationId="{B957B545-C41F-4F12-8029-7330431E2D22}"/>
          </ac:spMkLst>
        </pc:spChg>
        <pc:spChg chg="mod">
          <ac:chgData name="Julie Campbell" userId="S::juliec@audienz.com::df5086f6-13ed-4e69-b43c-17720522b05d" providerId="AD" clId="Web-{E43DB6EA-01AD-F658-1084-376FB4668AEE}" dt="2020-07-29T22:02:28.615" v="362" actId="20577"/>
          <ac:spMkLst>
            <pc:docMk/>
            <pc:sldMk cId="2459196527" sldId="2076138645"/>
            <ac:spMk id="69" creationId="{1804B63B-2941-43F8-8036-50919014798D}"/>
          </ac:spMkLst>
        </pc:spChg>
        <pc:spChg chg="mod">
          <ac:chgData name="Julie Campbell" userId="S::juliec@audienz.com::df5086f6-13ed-4e69-b43c-17720522b05d" providerId="AD" clId="Web-{E43DB6EA-01AD-F658-1084-376FB4668AEE}" dt="2020-07-29T22:02:28.412" v="346" actId="20577"/>
          <ac:spMkLst>
            <pc:docMk/>
            <pc:sldMk cId="2459196527" sldId="2076138645"/>
            <ac:spMk id="96" creationId="{D5DF723B-85CE-466F-8C4E-83DED5C5BC9E}"/>
          </ac:spMkLst>
        </pc:spChg>
        <pc:spChg chg="mod">
          <ac:chgData name="Julie Campbell" userId="S::juliec@audienz.com::df5086f6-13ed-4e69-b43c-17720522b05d" providerId="AD" clId="Web-{E43DB6EA-01AD-F658-1084-376FB4668AEE}" dt="2020-07-29T22:02:28.428" v="347" actId="20577"/>
          <ac:spMkLst>
            <pc:docMk/>
            <pc:sldMk cId="2459196527" sldId="2076138645"/>
            <ac:spMk id="97" creationId="{85B6D0E2-8706-43D6-9451-833620BB2954}"/>
          </ac:spMkLst>
        </pc:spChg>
        <pc:spChg chg="mod">
          <ac:chgData name="Julie Campbell" userId="S::juliec@audienz.com::df5086f6-13ed-4e69-b43c-17720522b05d" providerId="AD" clId="Web-{E43DB6EA-01AD-F658-1084-376FB4668AEE}" dt="2020-07-29T22:02:28.412" v="345" actId="20577"/>
          <ac:spMkLst>
            <pc:docMk/>
            <pc:sldMk cId="2459196527" sldId="2076138645"/>
            <ac:spMk id="98" creationId="{7C452DAB-0B9C-495A-991D-CB016AD47334}"/>
          </ac:spMkLst>
        </pc:spChg>
      </pc:sldChg>
      <pc:sldChg chg="modSp">
        <pc:chgData name="Julie Campbell" userId="S::juliec@audienz.com::df5086f6-13ed-4e69-b43c-17720522b05d" providerId="AD" clId="Web-{E43DB6EA-01AD-F658-1084-376FB4668AEE}" dt="2020-07-29T22:00:34.233" v="177" actId="20577"/>
        <pc:sldMkLst>
          <pc:docMk/>
          <pc:sldMk cId="527630685" sldId="2076138654"/>
        </pc:sldMkLst>
        <pc:spChg chg="mod">
          <ac:chgData name="Julie Campbell" userId="S::juliec@audienz.com::df5086f6-13ed-4e69-b43c-17720522b05d" providerId="AD" clId="Web-{E43DB6EA-01AD-F658-1084-376FB4668AEE}" dt="2020-07-29T22:00:34.202" v="174" actId="20577"/>
          <ac:spMkLst>
            <pc:docMk/>
            <pc:sldMk cId="527630685" sldId="2076138654"/>
            <ac:spMk id="11" creationId="{4F84522F-AEF8-4FBA-A436-59F61D7AA1BA}"/>
          </ac:spMkLst>
        </pc:spChg>
        <pc:spChg chg="mod">
          <ac:chgData name="Julie Campbell" userId="S::juliec@audienz.com::df5086f6-13ed-4e69-b43c-17720522b05d" providerId="AD" clId="Web-{E43DB6EA-01AD-F658-1084-376FB4668AEE}" dt="2020-07-29T22:00:34.218" v="175" actId="20577"/>
          <ac:spMkLst>
            <pc:docMk/>
            <pc:sldMk cId="527630685" sldId="2076138654"/>
            <ac:spMk id="12" creationId="{7E3C124A-61EB-4088-9702-97238CADAE4E}"/>
          </ac:spMkLst>
        </pc:spChg>
        <pc:spChg chg="mod">
          <ac:chgData name="Julie Campbell" userId="S::juliec@audienz.com::df5086f6-13ed-4e69-b43c-17720522b05d" providerId="AD" clId="Web-{E43DB6EA-01AD-F658-1084-376FB4668AEE}" dt="2020-07-29T22:00:34.218" v="176" actId="20577"/>
          <ac:spMkLst>
            <pc:docMk/>
            <pc:sldMk cId="527630685" sldId="2076138654"/>
            <ac:spMk id="13" creationId="{460B9904-E680-4EB3-A30C-CFB6B1AD51B8}"/>
          </ac:spMkLst>
        </pc:spChg>
        <pc:spChg chg="mod">
          <ac:chgData name="Julie Campbell" userId="S::juliec@audienz.com::df5086f6-13ed-4e69-b43c-17720522b05d" providerId="AD" clId="Web-{E43DB6EA-01AD-F658-1084-376FB4668AEE}" dt="2020-07-29T22:00:34.233" v="177" actId="20577"/>
          <ac:spMkLst>
            <pc:docMk/>
            <pc:sldMk cId="527630685" sldId="2076138654"/>
            <ac:spMk id="14" creationId="{48DC6909-1451-403E-AC8B-6155AEF78D58}"/>
          </ac:spMkLst>
        </pc:spChg>
      </pc:sldChg>
      <pc:sldChg chg="modSp">
        <pc:chgData name="Julie Campbell" userId="S::juliec@audienz.com::df5086f6-13ed-4e69-b43c-17720522b05d" providerId="AD" clId="Web-{E43DB6EA-01AD-F658-1084-376FB4668AEE}" dt="2020-07-29T22:02:01.926" v="284" actId="20577"/>
        <pc:sldMkLst>
          <pc:docMk/>
          <pc:sldMk cId="1536175566" sldId="2076138655"/>
        </pc:sldMkLst>
        <pc:spChg chg="mod">
          <ac:chgData name="Julie Campbell" userId="S::juliec@audienz.com::df5086f6-13ed-4e69-b43c-17720522b05d" providerId="AD" clId="Web-{E43DB6EA-01AD-F658-1084-376FB4668AEE}" dt="2020-07-29T22:02:01.051" v="264" actId="20577"/>
          <ac:spMkLst>
            <pc:docMk/>
            <pc:sldMk cId="1536175566" sldId="2076138655"/>
            <ac:spMk id="3" creationId="{A91BA812-A883-44BB-B2E8-EF3B91BE9844}"/>
          </ac:spMkLst>
        </pc:spChg>
        <pc:spChg chg="mod">
          <ac:chgData name="Julie Campbell" userId="S::juliec@audienz.com::df5086f6-13ed-4e69-b43c-17720522b05d" providerId="AD" clId="Web-{E43DB6EA-01AD-F658-1084-376FB4668AEE}" dt="2020-07-29T22:02:01.082" v="265" actId="20577"/>
          <ac:spMkLst>
            <pc:docMk/>
            <pc:sldMk cId="1536175566" sldId="2076138655"/>
            <ac:spMk id="23" creationId="{C334BF10-5966-4FAF-B912-99B1D3BFA30D}"/>
          </ac:spMkLst>
        </pc:spChg>
        <pc:spChg chg="mod">
          <ac:chgData name="Julie Campbell" userId="S::juliec@audienz.com::df5086f6-13ed-4e69-b43c-17720522b05d" providerId="AD" clId="Web-{E43DB6EA-01AD-F658-1084-376FB4668AEE}" dt="2020-07-29T22:02:01.098" v="266" actId="20577"/>
          <ac:spMkLst>
            <pc:docMk/>
            <pc:sldMk cId="1536175566" sldId="2076138655"/>
            <ac:spMk id="27" creationId="{9B372AE0-947A-4D94-BC54-802CA83A8F23}"/>
          </ac:spMkLst>
        </pc:spChg>
        <pc:spChg chg="mod">
          <ac:chgData name="Julie Campbell" userId="S::juliec@audienz.com::df5086f6-13ed-4e69-b43c-17720522b05d" providerId="AD" clId="Web-{E43DB6EA-01AD-F658-1084-376FB4668AEE}" dt="2020-07-29T22:02:01.129" v="267" actId="20577"/>
          <ac:spMkLst>
            <pc:docMk/>
            <pc:sldMk cId="1536175566" sldId="2076138655"/>
            <ac:spMk id="28" creationId="{645FF8E9-41A2-451F-9975-6D075EA88FE9}"/>
          </ac:spMkLst>
        </pc:spChg>
        <pc:spChg chg="mod">
          <ac:chgData name="Julie Campbell" userId="S::juliec@audienz.com::df5086f6-13ed-4e69-b43c-17720522b05d" providerId="AD" clId="Web-{E43DB6EA-01AD-F658-1084-376FB4668AEE}" dt="2020-07-29T22:02:01.129" v="268" actId="20577"/>
          <ac:spMkLst>
            <pc:docMk/>
            <pc:sldMk cId="1536175566" sldId="2076138655"/>
            <ac:spMk id="30" creationId="{D228A0EC-777E-41A3-BA15-64585F19C0B1}"/>
          </ac:spMkLst>
        </pc:spChg>
        <pc:spChg chg="mod">
          <ac:chgData name="Julie Campbell" userId="S::juliec@audienz.com::df5086f6-13ed-4e69-b43c-17720522b05d" providerId="AD" clId="Web-{E43DB6EA-01AD-F658-1084-376FB4668AEE}" dt="2020-07-29T22:02:01.160" v="269" actId="20577"/>
          <ac:spMkLst>
            <pc:docMk/>
            <pc:sldMk cId="1536175566" sldId="2076138655"/>
            <ac:spMk id="32" creationId="{F670FA0C-424C-4CC0-9319-F9E7B16C80E0}"/>
          </ac:spMkLst>
        </pc:spChg>
        <pc:spChg chg="mod">
          <ac:chgData name="Julie Campbell" userId="S::juliec@audienz.com::df5086f6-13ed-4e69-b43c-17720522b05d" providerId="AD" clId="Web-{E43DB6EA-01AD-F658-1084-376FB4668AEE}" dt="2020-07-29T22:02:01.176" v="270" actId="20577"/>
          <ac:spMkLst>
            <pc:docMk/>
            <pc:sldMk cId="1536175566" sldId="2076138655"/>
            <ac:spMk id="33" creationId="{20C4268C-3622-447F-9EE1-DD96DC044FA1}"/>
          </ac:spMkLst>
        </pc:spChg>
        <pc:spChg chg="mod">
          <ac:chgData name="Julie Campbell" userId="S::juliec@audienz.com::df5086f6-13ed-4e69-b43c-17720522b05d" providerId="AD" clId="Web-{E43DB6EA-01AD-F658-1084-376FB4668AEE}" dt="2020-07-29T22:02:01.192" v="271" actId="20577"/>
          <ac:spMkLst>
            <pc:docMk/>
            <pc:sldMk cId="1536175566" sldId="2076138655"/>
            <ac:spMk id="35" creationId="{D5252F3C-48C1-47C4-9CA4-32A32B7E090A}"/>
          </ac:spMkLst>
        </pc:spChg>
        <pc:spChg chg="mod">
          <ac:chgData name="Julie Campbell" userId="S::juliec@audienz.com::df5086f6-13ed-4e69-b43c-17720522b05d" providerId="AD" clId="Web-{E43DB6EA-01AD-F658-1084-376FB4668AEE}" dt="2020-07-29T22:02:01.223" v="272" actId="20577"/>
          <ac:spMkLst>
            <pc:docMk/>
            <pc:sldMk cId="1536175566" sldId="2076138655"/>
            <ac:spMk id="37" creationId="{C229264F-9D39-47E7-AFCF-B032C08A8EDE}"/>
          </ac:spMkLst>
        </pc:spChg>
        <pc:spChg chg="mod">
          <ac:chgData name="Julie Campbell" userId="S::juliec@audienz.com::df5086f6-13ed-4e69-b43c-17720522b05d" providerId="AD" clId="Web-{E43DB6EA-01AD-F658-1084-376FB4668AEE}" dt="2020-07-29T22:02:01.238" v="273" actId="20577"/>
          <ac:spMkLst>
            <pc:docMk/>
            <pc:sldMk cId="1536175566" sldId="2076138655"/>
            <ac:spMk id="38" creationId="{1DE9D080-81D6-4DA2-BE2F-1AEA8177F5E8}"/>
          </ac:spMkLst>
        </pc:spChg>
        <pc:spChg chg="mod">
          <ac:chgData name="Julie Campbell" userId="S::juliec@audienz.com::df5086f6-13ed-4e69-b43c-17720522b05d" providerId="AD" clId="Web-{E43DB6EA-01AD-F658-1084-376FB4668AEE}" dt="2020-07-29T22:02:01.270" v="274" actId="20577"/>
          <ac:spMkLst>
            <pc:docMk/>
            <pc:sldMk cId="1536175566" sldId="2076138655"/>
            <ac:spMk id="40" creationId="{1AF22914-DEDE-4CF6-8CF2-1803CDF0608E}"/>
          </ac:spMkLst>
        </pc:spChg>
        <pc:spChg chg="mod">
          <ac:chgData name="Julie Campbell" userId="S::juliec@audienz.com::df5086f6-13ed-4e69-b43c-17720522b05d" providerId="AD" clId="Web-{E43DB6EA-01AD-F658-1084-376FB4668AEE}" dt="2020-07-29T22:02:01.285" v="275" actId="20577"/>
          <ac:spMkLst>
            <pc:docMk/>
            <pc:sldMk cId="1536175566" sldId="2076138655"/>
            <ac:spMk id="41" creationId="{AD0A2CC0-C251-4D31-B3AD-C4FFC9226299}"/>
          </ac:spMkLst>
        </pc:spChg>
        <pc:spChg chg="mod">
          <ac:chgData name="Julie Campbell" userId="S::juliec@audienz.com::df5086f6-13ed-4e69-b43c-17720522b05d" providerId="AD" clId="Web-{E43DB6EA-01AD-F658-1084-376FB4668AEE}" dt="2020-07-29T22:02:01.410" v="276" actId="20577"/>
          <ac:spMkLst>
            <pc:docMk/>
            <pc:sldMk cId="1536175566" sldId="2076138655"/>
            <ac:spMk id="42" creationId="{E12EC0E2-C801-40D2-8B8F-6F79633AB918}"/>
          </ac:spMkLst>
        </pc:spChg>
        <pc:spChg chg="mod">
          <ac:chgData name="Julie Campbell" userId="S::juliec@audienz.com::df5086f6-13ed-4e69-b43c-17720522b05d" providerId="AD" clId="Web-{E43DB6EA-01AD-F658-1084-376FB4668AEE}" dt="2020-07-29T22:02:01.520" v="277" actId="20577"/>
          <ac:spMkLst>
            <pc:docMk/>
            <pc:sldMk cId="1536175566" sldId="2076138655"/>
            <ac:spMk id="44" creationId="{2666E27C-CE0C-42F0-A2B1-CC7A59EC2FD2}"/>
          </ac:spMkLst>
        </pc:spChg>
        <pc:spChg chg="mod">
          <ac:chgData name="Julie Campbell" userId="S::juliec@audienz.com::df5086f6-13ed-4e69-b43c-17720522b05d" providerId="AD" clId="Web-{E43DB6EA-01AD-F658-1084-376FB4668AEE}" dt="2020-07-29T22:02:01.613" v="278" actId="20577"/>
          <ac:spMkLst>
            <pc:docMk/>
            <pc:sldMk cId="1536175566" sldId="2076138655"/>
            <ac:spMk id="47" creationId="{CB0E7817-64DF-4187-A804-E7138352E661}"/>
          </ac:spMkLst>
        </pc:spChg>
        <pc:spChg chg="mod">
          <ac:chgData name="Julie Campbell" userId="S::juliec@audienz.com::df5086f6-13ed-4e69-b43c-17720522b05d" providerId="AD" clId="Web-{E43DB6EA-01AD-F658-1084-376FB4668AEE}" dt="2020-07-29T22:02:01.754" v="279" actId="20577"/>
          <ac:spMkLst>
            <pc:docMk/>
            <pc:sldMk cId="1536175566" sldId="2076138655"/>
            <ac:spMk id="50" creationId="{FD1094DC-ED5F-4A95-991D-0C15E3CB2D2E}"/>
          </ac:spMkLst>
        </pc:spChg>
        <pc:spChg chg="mod">
          <ac:chgData name="Julie Campbell" userId="S::juliec@audienz.com::df5086f6-13ed-4e69-b43c-17720522b05d" providerId="AD" clId="Web-{E43DB6EA-01AD-F658-1084-376FB4668AEE}" dt="2020-07-29T22:02:01.863" v="280" actId="20577"/>
          <ac:spMkLst>
            <pc:docMk/>
            <pc:sldMk cId="1536175566" sldId="2076138655"/>
            <ac:spMk id="53" creationId="{EDDB9C3B-92E9-4F10-9999-9E02581EA469}"/>
          </ac:spMkLst>
        </pc:spChg>
        <pc:spChg chg="mod">
          <ac:chgData name="Julie Campbell" userId="S::juliec@audienz.com::df5086f6-13ed-4e69-b43c-17720522b05d" providerId="AD" clId="Web-{E43DB6EA-01AD-F658-1084-376FB4668AEE}" dt="2020-07-29T22:02:01.879" v="281" actId="20577"/>
          <ac:spMkLst>
            <pc:docMk/>
            <pc:sldMk cId="1536175566" sldId="2076138655"/>
            <ac:spMk id="54" creationId="{A9D7E223-3B70-4D02-8ECB-8A59E87F7A7C}"/>
          </ac:spMkLst>
        </pc:spChg>
        <pc:spChg chg="mod">
          <ac:chgData name="Julie Campbell" userId="S::juliec@audienz.com::df5086f6-13ed-4e69-b43c-17720522b05d" providerId="AD" clId="Web-{E43DB6EA-01AD-F658-1084-376FB4668AEE}" dt="2020-07-29T22:02:01.895" v="282" actId="20577"/>
          <ac:spMkLst>
            <pc:docMk/>
            <pc:sldMk cId="1536175566" sldId="2076138655"/>
            <ac:spMk id="55" creationId="{665B2A2D-8878-42E2-A310-44EC272E761F}"/>
          </ac:spMkLst>
        </pc:spChg>
        <pc:spChg chg="mod">
          <ac:chgData name="Julie Campbell" userId="S::juliec@audienz.com::df5086f6-13ed-4e69-b43c-17720522b05d" providerId="AD" clId="Web-{E43DB6EA-01AD-F658-1084-376FB4668AEE}" dt="2020-07-29T22:02:01.910" v="283" actId="20577"/>
          <ac:spMkLst>
            <pc:docMk/>
            <pc:sldMk cId="1536175566" sldId="2076138655"/>
            <ac:spMk id="56" creationId="{52F27113-F6EF-456F-9A2D-3A74277D0C65}"/>
          </ac:spMkLst>
        </pc:spChg>
        <pc:spChg chg="mod">
          <ac:chgData name="Julie Campbell" userId="S::juliec@audienz.com::df5086f6-13ed-4e69-b43c-17720522b05d" providerId="AD" clId="Web-{E43DB6EA-01AD-F658-1084-376FB4668AEE}" dt="2020-07-29T22:02:01.926" v="284" actId="20577"/>
          <ac:spMkLst>
            <pc:docMk/>
            <pc:sldMk cId="1536175566" sldId="2076138655"/>
            <ac:spMk id="59" creationId="{3D9A4239-1F2A-4056-9386-243743B01538}"/>
          </ac:spMkLst>
        </pc:spChg>
      </pc:sldChg>
      <pc:sldChg chg="modSp delCm">
        <pc:chgData name="Julie Campbell" userId="S::juliec@audienz.com::df5086f6-13ed-4e69-b43c-17720522b05d" providerId="AD" clId="Web-{E43DB6EA-01AD-F658-1084-376FB4668AEE}" dt="2020-07-29T22:00:49.234" v="192" actId="20577"/>
        <pc:sldMkLst>
          <pc:docMk/>
          <pc:sldMk cId="3265032009" sldId="2076138658"/>
        </pc:sldMkLst>
        <pc:spChg chg="mod">
          <ac:chgData name="Julie Campbell" userId="S::juliec@audienz.com::df5086f6-13ed-4e69-b43c-17720522b05d" providerId="AD" clId="Web-{E43DB6EA-01AD-F658-1084-376FB4668AEE}" dt="2020-07-29T22:00:49.172" v="187" actId="20577"/>
          <ac:spMkLst>
            <pc:docMk/>
            <pc:sldMk cId="3265032009" sldId="2076138658"/>
            <ac:spMk id="12" creationId="{55FF33F1-002C-49C9-A423-981F1FB547E5}"/>
          </ac:spMkLst>
        </pc:spChg>
        <pc:spChg chg="mod">
          <ac:chgData name="Julie Campbell" userId="S::juliec@audienz.com::df5086f6-13ed-4e69-b43c-17720522b05d" providerId="AD" clId="Web-{E43DB6EA-01AD-F658-1084-376FB4668AEE}" dt="2020-07-29T22:00:49.187" v="188" actId="20577"/>
          <ac:spMkLst>
            <pc:docMk/>
            <pc:sldMk cId="3265032009" sldId="2076138658"/>
            <ac:spMk id="16" creationId="{1DEE0D6F-63E1-4678-B287-762D65AE571E}"/>
          </ac:spMkLst>
        </pc:spChg>
        <pc:spChg chg="mod">
          <ac:chgData name="Julie Campbell" userId="S::juliec@audienz.com::df5086f6-13ed-4e69-b43c-17720522b05d" providerId="AD" clId="Web-{E43DB6EA-01AD-F658-1084-376FB4668AEE}" dt="2020-07-29T22:00:49.187" v="189" actId="20577"/>
          <ac:spMkLst>
            <pc:docMk/>
            <pc:sldMk cId="3265032009" sldId="2076138658"/>
            <ac:spMk id="18" creationId="{30B4F496-6A48-4440-9C7E-DF5B4328765F}"/>
          </ac:spMkLst>
        </pc:spChg>
        <pc:spChg chg="mod">
          <ac:chgData name="Julie Campbell" userId="S::juliec@audienz.com::df5086f6-13ed-4e69-b43c-17720522b05d" providerId="AD" clId="Web-{E43DB6EA-01AD-F658-1084-376FB4668AEE}" dt="2020-07-29T22:00:49.203" v="190" actId="20577"/>
          <ac:spMkLst>
            <pc:docMk/>
            <pc:sldMk cId="3265032009" sldId="2076138658"/>
            <ac:spMk id="19" creationId="{9E405C66-9262-49D9-9C6F-CF1F86491103}"/>
          </ac:spMkLst>
        </pc:spChg>
        <pc:spChg chg="mod">
          <ac:chgData name="Julie Campbell" userId="S::juliec@audienz.com::df5086f6-13ed-4e69-b43c-17720522b05d" providerId="AD" clId="Web-{E43DB6EA-01AD-F658-1084-376FB4668AEE}" dt="2020-07-29T22:00:49.234" v="192" actId="20577"/>
          <ac:spMkLst>
            <pc:docMk/>
            <pc:sldMk cId="3265032009" sldId="2076138658"/>
            <ac:spMk id="21" creationId="{848655BC-3E64-4B6A-AC4B-9C6634B1556E}"/>
          </ac:spMkLst>
        </pc:spChg>
      </pc:sldChg>
      <pc:sldChg chg="modSp">
        <pc:chgData name="Julie Campbell" userId="S::juliec@audienz.com::df5086f6-13ed-4e69-b43c-17720522b05d" providerId="AD" clId="Web-{E43DB6EA-01AD-F658-1084-376FB4668AEE}" dt="2020-07-29T22:02:21.802" v="342" actId="20577"/>
        <pc:sldMkLst>
          <pc:docMk/>
          <pc:sldMk cId="1763101373" sldId="2076138662"/>
        </pc:sldMkLst>
        <pc:spChg chg="mod">
          <ac:chgData name="Julie Campbell" userId="S::juliec@audienz.com::df5086f6-13ed-4e69-b43c-17720522b05d" providerId="AD" clId="Web-{E43DB6EA-01AD-F658-1084-376FB4668AEE}" dt="2020-07-29T22:02:21.802" v="342" actId="20577"/>
          <ac:spMkLst>
            <pc:docMk/>
            <pc:sldMk cId="1763101373" sldId="2076138662"/>
            <ac:spMk id="4" creationId="{3764A4E6-3ADF-4330-B9ED-41343B65D763}"/>
          </ac:spMkLst>
        </pc:spChg>
      </pc:sldChg>
      <pc:sldChg chg="modSp">
        <pc:chgData name="Julie Campbell" userId="S::juliec@audienz.com::df5086f6-13ed-4e69-b43c-17720522b05d" providerId="AD" clId="Web-{E43DB6EA-01AD-F658-1084-376FB4668AEE}" dt="2020-07-29T22:01:56.660" v="263" actId="20577"/>
        <pc:sldMkLst>
          <pc:docMk/>
          <pc:sldMk cId="0" sldId="2076138663"/>
        </pc:sldMkLst>
        <pc:spChg chg="mod">
          <ac:chgData name="Julie Campbell" userId="S::juliec@audienz.com::df5086f6-13ed-4e69-b43c-17720522b05d" providerId="AD" clId="Web-{E43DB6EA-01AD-F658-1084-376FB4668AEE}" dt="2020-07-29T22:01:56.457" v="257" actId="20577"/>
          <ac:spMkLst>
            <pc:docMk/>
            <pc:sldMk cId="0" sldId="2076138663"/>
            <ac:spMk id="30" creationId="{44D6F0E0-89F9-4B23-9B3B-C9F3454A0367}"/>
          </ac:spMkLst>
        </pc:spChg>
        <pc:spChg chg="mod">
          <ac:chgData name="Julie Campbell" userId="S::juliec@audienz.com::df5086f6-13ed-4e69-b43c-17720522b05d" providerId="AD" clId="Web-{E43DB6EA-01AD-F658-1084-376FB4668AEE}" dt="2020-07-29T22:01:56.488" v="258" actId="20577"/>
          <ac:spMkLst>
            <pc:docMk/>
            <pc:sldMk cId="0" sldId="2076138663"/>
            <ac:spMk id="32" creationId="{55847341-7364-4EF1-B33B-CAB5839E8ACE}"/>
          </ac:spMkLst>
        </pc:spChg>
        <pc:spChg chg="mod">
          <ac:chgData name="Julie Campbell" userId="S::juliec@audienz.com::df5086f6-13ed-4e69-b43c-17720522b05d" providerId="AD" clId="Web-{E43DB6EA-01AD-F658-1084-376FB4668AEE}" dt="2020-07-29T22:01:56.519" v="259" actId="20577"/>
          <ac:spMkLst>
            <pc:docMk/>
            <pc:sldMk cId="0" sldId="2076138663"/>
            <ac:spMk id="33" creationId="{DB95B0EA-4566-461F-B1A3-953C96BE9CA5}"/>
          </ac:spMkLst>
        </pc:spChg>
        <pc:spChg chg="mod">
          <ac:chgData name="Julie Campbell" userId="S::juliec@audienz.com::df5086f6-13ed-4e69-b43c-17720522b05d" providerId="AD" clId="Web-{E43DB6EA-01AD-F658-1084-376FB4668AEE}" dt="2020-07-29T22:01:56.566" v="260" actId="20577"/>
          <ac:spMkLst>
            <pc:docMk/>
            <pc:sldMk cId="0" sldId="2076138663"/>
            <ac:spMk id="36" creationId="{E5D89D34-E362-4788-83B1-F29D57A7E7B4}"/>
          </ac:spMkLst>
        </pc:spChg>
        <pc:spChg chg="mod">
          <ac:chgData name="Julie Campbell" userId="S::juliec@audienz.com::df5086f6-13ed-4e69-b43c-17720522b05d" providerId="AD" clId="Web-{E43DB6EA-01AD-F658-1084-376FB4668AEE}" dt="2020-07-29T22:01:56.598" v="261" actId="20577"/>
          <ac:spMkLst>
            <pc:docMk/>
            <pc:sldMk cId="0" sldId="2076138663"/>
            <ac:spMk id="37" creationId="{167020C5-8C35-43B6-A577-B452CD027AD0}"/>
          </ac:spMkLst>
        </pc:spChg>
        <pc:spChg chg="mod">
          <ac:chgData name="Julie Campbell" userId="S::juliec@audienz.com::df5086f6-13ed-4e69-b43c-17720522b05d" providerId="AD" clId="Web-{E43DB6EA-01AD-F658-1084-376FB4668AEE}" dt="2020-07-29T22:01:56.629" v="262" actId="20577"/>
          <ac:spMkLst>
            <pc:docMk/>
            <pc:sldMk cId="0" sldId="2076138663"/>
            <ac:spMk id="38" creationId="{7F1CF928-66DD-4CF2-ADD2-6127294A29EB}"/>
          </ac:spMkLst>
        </pc:spChg>
        <pc:spChg chg="mod">
          <ac:chgData name="Julie Campbell" userId="S::juliec@audienz.com::df5086f6-13ed-4e69-b43c-17720522b05d" providerId="AD" clId="Web-{E43DB6EA-01AD-F658-1084-376FB4668AEE}" dt="2020-07-29T22:01:56.660" v="263" actId="20577"/>
          <ac:spMkLst>
            <pc:docMk/>
            <pc:sldMk cId="0" sldId="2076138663"/>
            <ac:spMk id="48" creationId="{15B1B9A1-3987-4741-B95E-0FB52B0176D2}"/>
          </ac:spMkLst>
        </pc:spChg>
        <pc:spChg chg="mod">
          <ac:chgData name="Julie Campbell" userId="S::juliec@audienz.com::df5086f6-13ed-4e69-b43c-17720522b05d" providerId="AD" clId="Web-{E43DB6EA-01AD-F658-1084-376FB4668AEE}" dt="2020-07-29T22:01:56.113" v="241" actId="20577"/>
          <ac:spMkLst>
            <pc:docMk/>
            <pc:sldMk cId="0" sldId="2076138663"/>
            <ac:spMk id="71" creationId="{A5DEECDF-7EF7-4E7A-A294-304A0C6BCFB1}"/>
          </ac:spMkLst>
        </pc:spChg>
        <pc:spChg chg="mod">
          <ac:chgData name="Julie Campbell" userId="S::juliec@audienz.com::df5086f6-13ed-4e69-b43c-17720522b05d" providerId="AD" clId="Web-{E43DB6EA-01AD-F658-1084-376FB4668AEE}" dt="2020-07-29T22:01:56.129" v="242" actId="20577"/>
          <ac:spMkLst>
            <pc:docMk/>
            <pc:sldMk cId="0" sldId="2076138663"/>
            <ac:spMk id="72" creationId="{3C916E42-3A81-4605-94E5-4F68968F1688}"/>
          </ac:spMkLst>
        </pc:spChg>
        <pc:spChg chg="mod">
          <ac:chgData name="Julie Campbell" userId="S::juliec@audienz.com::df5086f6-13ed-4e69-b43c-17720522b05d" providerId="AD" clId="Web-{E43DB6EA-01AD-F658-1084-376FB4668AEE}" dt="2020-07-29T22:01:56.144" v="243" actId="20577"/>
          <ac:spMkLst>
            <pc:docMk/>
            <pc:sldMk cId="0" sldId="2076138663"/>
            <ac:spMk id="73" creationId="{63D2E0A2-E54E-4985-B7D0-331AB03A8278}"/>
          </ac:spMkLst>
        </pc:spChg>
        <pc:spChg chg="mod">
          <ac:chgData name="Julie Campbell" userId="S::juliec@audienz.com::df5086f6-13ed-4e69-b43c-17720522b05d" providerId="AD" clId="Web-{E43DB6EA-01AD-F658-1084-376FB4668AEE}" dt="2020-07-29T22:01:56.160" v="244" actId="20577"/>
          <ac:spMkLst>
            <pc:docMk/>
            <pc:sldMk cId="0" sldId="2076138663"/>
            <ac:spMk id="75" creationId="{6180AB4F-658F-439B-AE02-1906DE69380C}"/>
          </ac:spMkLst>
        </pc:spChg>
        <pc:spChg chg="mod">
          <ac:chgData name="Julie Campbell" userId="S::juliec@audienz.com::df5086f6-13ed-4e69-b43c-17720522b05d" providerId="AD" clId="Web-{E43DB6EA-01AD-F658-1084-376FB4668AEE}" dt="2020-07-29T22:01:56.176" v="245" actId="20577"/>
          <ac:spMkLst>
            <pc:docMk/>
            <pc:sldMk cId="0" sldId="2076138663"/>
            <ac:spMk id="76" creationId="{C7D3C1FB-2A46-4DC1-B197-CE37BE5E39F1}"/>
          </ac:spMkLst>
        </pc:spChg>
        <pc:spChg chg="mod">
          <ac:chgData name="Julie Campbell" userId="S::juliec@audienz.com::df5086f6-13ed-4e69-b43c-17720522b05d" providerId="AD" clId="Web-{E43DB6EA-01AD-F658-1084-376FB4668AEE}" dt="2020-07-29T22:01:56.207" v="246" actId="20577"/>
          <ac:spMkLst>
            <pc:docMk/>
            <pc:sldMk cId="0" sldId="2076138663"/>
            <ac:spMk id="77" creationId="{80C0CEB7-76B0-4B7B-B26F-7C09B853799B}"/>
          </ac:spMkLst>
        </pc:spChg>
        <pc:spChg chg="mod">
          <ac:chgData name="Julie Campbell" userId="S::juliec@audienz.com::df5086f6-13ed-4e69-b43c-17720522b05d" providerId="AD" clId="Web-{E43DB6EA-01AD-F658-1084-376FB4668AEE}" dt="2020-07-29T22:01:56.222" v="247" actId="20577"/>
          <ac:spMkLst>
            <pc:docMk/>
            <pc:sldMk cId="0" sldId="2076138663"/>
            <ac:spMk id="79" creationId="{A9458110-C712-4E66-9DFF-F73C3CD53E50}"/>
          </ac:spMkLst>
        </pc:spChg>
        <pc:spChg chg="mod">
          <ac:chgData name="Julie Campbell" userId="S::juliec@audienz.com::df5086f6-13ed-4e69-b43c-17720522b05d" providerId="AD" clId="Web-{E43DB6EA-01AD-F658-1084-376FB4668AEE}" dt="2020-07-29T22:01:56.238" v="248" actId="20577"/>
          <ac:spMkLst>
            <pc:docMk/>
            <pc:sldMk cId="0" sldId="2076138663"/>
            <ac:spMk id="80" creationId="{4EF7F98D-E597-40F2-B32A-0067B17CD0F5}"/>
          </ac:spMkLst>
        </pc:spChg>
        <pc:spChg chg="mod">
          <ac:chgData name="Julie Campbell" userId="S::juliec@audienz.com::df5086f6-13ed-4e69-b43c-17720522b05d" providerId="AD" clId="Web-{E43DB6EA-01AD-F658-1084-376FB4668AEE}" dt="2020-07-29T22:01:56.254" v="249" actId="20577"/>
          <ac:spMkLst>
            <pc:docMk/>
            <pc:sldMk cId="0" sldId="2076138663"/>
            <ac:spMk id="82" creationId="{47BB8833-0946-4EC0-B7DD-CE612ED84E06}"/>
          </ac:spMkLst>
        </pc:spChg>
        <pc:spChg chg="mod">
          <ac:chgData name="Julie Campbell" userId="S::juliec@audienz.com::df5086f6-13ed-4e69-b43c-17720522b05d" providerId="AD" clId="Web-{E43DB6EA-01AD-F658-1084-376FB4668AEE}" dt="2020-07-29T22:01:56.269" v="250" actId="20577"/>
          <ac:spMkLst>
            <pc:docMk/>
            <pc:sldMk cId="0" sldId="2076138663"/>
            <ac:spMk id="83" creationId="{689A8420-A844-4523-8689-E8CDA87EFF4F}"/>
          </ac:spMkLst>
        </pc:spChg>
        <pc:spChg chg="mod">
          <ac:chgData name="Julie Campbell" userId="S::juliec@audienz.com::df5086f6-13ed-4e69-b43c-17720522b05d" providerId="AD" clId="Web-{E43DB6EA-01AD-F658-1084-376FB4668AEE}" dt="2020-07-29T22:01:56.301" v="251" actId="20577"/>
          <ac:spMkLst>
            <pc:docMk/>
            <pc:sldMk cId="0" sldId="2076138663"/>
            <ac:spMk id="84" creationId="{2D474693-D1AB-4315-8726-79CC1DC442CE}"/>
          </ac:spMkLst>
        </pc:spChg>
        <pc:spChg chg="mod">
          <ac:chgData name="Julie Campbell" userId="S::juliec@audienz.com::df5086f6-13ed-4e69-b43c-17720522b05d" providerId="AD" clId="Web-{E43DB6EA-01AD-F658-1084-376FB4668AEE}" dt="2020-07-29T22:01:56.316" v="252" actId="20577"/>
          <ac:spMkLst>
            <pc:docMk/>
            <pc:sldMk cId="0" sldId="2076138663"/>
            <ac:spMk id="85" creationId="{180DD2F3-99CC-4170-B380-B1D97D3130F6}"/>
          </ac:spMkLst>
        </pc:spChg>
        <pc:spChg chg="mod">
          <ac:chgData name="Julie Campbell" userId="S::juliec@audienz.com::df5086f6-13ed-4e69-b43c-17720522b05d" providerId="AD" clId="Web-{E43DB6EA-01AD-F658-1084-376FB4668AEE}" dt="2020-07-29T22:01:56.332" v="253" actId="20577"/>
          <ac:spMkLst>
            <pc:docMk/>
            <pc:sldMk cId="0" sldId="2076138663"/>
            <ac:spMk id="86" creationId="{734E5491-9798-4E6D-8C9D-6EF0B3B073E3}"/>
          </ac:spMkLst>
        </pc:spChg>
        <pc:spChg chg="mod">
          <ac:chgData name="Julie Campbell" userId="S::juliec@audienz.com::df5086f6-13ed-4e69-b43c-17720522b05d" providerId="AD" clId="Web-{E43DB6EA-01AD-F658-1084-376FB4668AEE}" dt="2020-07-29T22:01:56.363" v="254" actId="20577"/>
          <ac:spMkLst>
            <pc:docMk/>
            <pc:sldMk cId="0" sldId="2076138663"/>
            <ac:spMk id="87" creationId="{2F8FD3D0-9363-485D-BBB2-2BEAFA8ECE09}"/>
          </ac:spMkLst>
        </pc:spChg>
        <pc:spChg chg="mod">
          <ac:chgData name="Julie Campbell" userId="S::juliec@audienz.com::df5086f6-13ed-4e69-b43c-17720522b05d" providerId="AD" clId="Web-{E43DB6EA-01AD-F658-1084-376FB4668AEE}" dt="2020-07-29T22:01:56.379" v="255" actId="20577"/>
          <ac:spMkLst>
            <pc:docMk/>
            <pc:sldMk cId="0" sldId="2076138663"/>
            <ac:spMk id="88" creationId="{57712E41-705B-4BF3-8BA9-0D55F5FD4227}"/>
          </ac:spMkLst>
        </pc:spChg>
        <pc:spChg chg="mod">
          <ac:chgData name="Julie Campbell" userId="S::juliec@audienz.com::df5086f6-13ed-4e69-b43c-17720522b05d" providerId="AD" clId="Web-{E43DB6EA-01AD-F658-1084-376FB4668AEE}" dt="2020-07-29T22:01:56.394" v="256" actId="20577"/>
          <ac:spMkLst>
            <pc:docMk/>
            <pc:sldMk cId="0" sldId="2076138663"/>
            <ac:spMk id="89" creationId="{32E5F0EA-C030-463E-A4E8-0EA92F8D29B6}"/>
          </ac:spMkLst>
        </pc:spChg>
      </pc:sldChg>
      <pc:sldChg chg="modSp delCm">
        <pc:chgData name="Julie Campbell" userId="S::juliec@audienz.com::df5086f6-13ed-4e69-b43c-17720522b05d" providerId="AD" clId="Web-{E43DB6EA-01AD-F658-1084-376FB4668AEE}" dt="2020-07-29T22:03:32.056" v="393" actId="20577"/>
        <pc:sldMkLst>
          <pc:docMk/>
          <pc:sldMk cId="3708918714" sldId="2076138665"/>
        </pc:sldMkLst>
        <pc:spChg chg="mod">
          <ac:chgData name="Julie Campbell" userId="S::juliec@audienz.com::df5086f6-13ed-4e69-b43c-17720522b05d" providerId="AD" clId="Web-{E43DB6EA-01AD-F658-1084-376FB4668AEE}" dt="2020-07-29T22:03:31.916" v="388" actId="20577"/>
          <ac:spMkLst>
            <pc:docMk/>
            <pc:sldMk cId="3708918714" sldId="2076138665"/>
            <ac:spMk id="18" creationId="{1C13A87A-F7E0-412D-B10D-6EE2CC484D1A}"/>
          </ac:spMkLst>
        </pc:spChg>
        <pc:spChg chg="mod">
          <ac:chgData name="Julie Campbell" userId="S::juliec@audienz.com::df5086f6-13ed-4e69-b43c-17720522b05d" providerId="AD" clId="Web-{E43DB6EA-01AD-F658-1084-376FB4668AEE}" dt="2020-07-29T22:03:31.931" v="389" actId="20577"/>
          <ac:spMkLst>
            <pc:docMk/>
            <pc:sldMk cId="3708918714" sldId="2076138665"/>
            <ac:spMk id="19" creationId="{8976ED8A-3253-48D7-A4BE-4582D6C9D56F}"/>
          </ac:spMkLst>
        </pc:spChg>
        <pc:spChg chg="mod">
          <ac:chgData name="Julie Campbell" userId="S::juliec@audienz.com::df5086f6-13ed-4e69-b43c-17720522b05d" providerId="AD" clId="Web-{E43DB6EA-01AD-F658-1084-376FB4668AEE}" dt="2020-07-29T22:03:31.947" v="390" actId="20577"/>
          <ac:spMkLst>
            <pc:docMk/>
            <pc:sldMk cId="3708918714" sldId="2076138665"/>
            <ac:spMk id="21" creationId="{DC7897E7-2D2F-4392-9912-F49673C90B76}"/>
          </ac:spMkLst>
        </pc:spChg>
        <pc:spChg chg="mod">
          <ac:chgData name="Julie Campbell" userId="S::juliec@audienz.com::df5086f6-13ed-4e69-b43c-17720522b05d" providerId="AD" clId="Web-{E43DB6EA-01AD-F658-1084-376FB4668AEE}" dt="2020-07-29T22:03:31.978" v="391" actId="20577"/>
          <ac:spMkLst>
            <pc:docMk/>
            <pc:sldMk cId="3708918714" sldId="2076138665"/>
            <ac:spMk id="22" creationId="{26ADA8DE-7ECC-4E50-A4C6-7420336CD3ED}"/>
          </ac:spMkLst>
        </pc:spChg>
        <pc:spChg chg="mod">
          <ac:chgData name="Julie Campbell" userId="S::juliec@audienz.com::df5086f6-13ed-4e69-b43c-17720522b05d" providerId="AD" clId="Web-{E43DB6EA-01AD-F658-1084-376FB4668AEE}" dt="2020-07-29T22:03:32.025" v="392" actId="20577"/>
          <ac:spMkLst>
            <pc:docMk/>
            <pc:sldMk cId="3708918714" sldId="2076138665"/>
            <ac:spMk id="23" creationId="{2699D566-E4B8-4F2A-9163-41A12A0400C6}"/>
          </ac:spMkLst>
        </pc:spChg>
        <pc:spChg chg="mod">
          <ac:chgData name="Julie Campbell" userId="S::juliec@audienz.com::df5086f6-13ed-4e69-b43c-17720522b05d" providerId="AD" clId="Web-{E43DB6EA-01AD-F658-1084-376FB4668AEE}" dt="2020-07-29T22:03:31.916" v="386" actId="20577"/>
          <ac:spMkLst>
            <pc:docMk/>
            <pc:sldMk cId="3708918714" sldId="2076138665"/>
            <ac:spMk id="24" creationId="{00000000-0000-0000-0000-000000000000}"/>
          </ac:spMkLst>
        </pc:spChg>
        <pc:spChg chg="mod">
          <ac:chgData name="Julie Campbell" userId="S::juliec@audienz.com::df5086f6-13ed-4e69-b43c-17720522b05d" providerId="AD" clId="Web-{E43DB6EA-01AD-F658-1084-376FB4668AEE}" dt="2020-07-29T22:03:32.056" v="393" actId="20577"/>
          <ac:spMkLst>
            <pc:docMk/>
            <pc:sldMk cId="3708918714" sldId="2076138665"/>
            <ac:spMk id="25" creationId="{6F815BD4-F1EC-40F2-8545-B651FA933277}"/>
          </ac:spMkLst>
        </pc:spChg>
      </pc:sldChg>
      <pc:sldChg chg="modSp">
        <pc:chgData name="Julie Campbell" userId="S::juliec@audienz.com::df5086f6-13ed-4e69-b43c-17720522b05d" providerId="AD" clId="Web-{E43DB6EA-01AD-F658-1084-376FB4668AEE}" dt="2020-07-29T21:59:10.963" v="4" actId="20577"/>
        <pc:sldMkLst>
          <pc:docMk/>
          <pc:sldMk cId="2540817366" sldId="2076138690"/>
        </pc:sldMkLst>
        <pc:spChg chg="mod">
          <ac:chgData name="Julie Campbell" userId="S::juliec@audienz.com::df5086f6-13ed-4e69-b43c-17720522b05d" providerId="AD" clId="Web-{E43DB6EA-01AD-F658-1084-376FB4668AEE}" dt="2020-07-29T21:59:10.963" v="4" actId="20577"/>
          <ac:spMkLst>
            <pc:docMk/>
            <pc:sldMk cId="2540817366" sldId="2076138690"/>
            <ac:spMk id="2" creationId="{311B7463-5F5E-4FAC-80E9-784891EE89CD}"/>
          </ac:spMkLst>
        </pc:spChg>
        <pc:spChg chg="mod">
          <ac:chgData name="Julie Campbell" userId="S::juliec@audienz.com::df5086f6-13ed-4e69-b43c-17720522b05d" providerId="AD" clId="Web-{E43DB6EA-01AD-F658-1084-376FB4668AEE}" dt="2020-07-29T21:59:09.853" v="2" actId="20577"/>
          <ac:spMkLst>
            <pc:docMk/>
            <pc:sldMk cId="2540817366" sldId="2076138690"/>
            <ac:spMk id="3" creationId="{FF186657-ACB4-4696-AA26-D2F6AE87A89E}"/>
          </ac:spMkLst>
        </pc:spChg>
      </pc:sldChg>
      <pc:sldChg chg="modSp">
        <pc:chgData name="Julie Campbell" userId="S::juliec@audienz.com::df5086f6-13ed-4e69-b43c-17720522b05d" providerId="AD" clId="Web-{E43DB6EA-01AD-F658-1084-376FB4668AEE}" dt="2020-07-29T21:59:15.869" v="26" actId="20577"/>
        <pc:sldMkLst>
          <pc:docMk/>
          <pc:sldMk cId="3462066453" sldId="2076138691"/>
        </pc:sldMkLst>
        <pc:spChg chg="mod">
          <ac:chgData name="Julie Campbell" userId="S::juliec@audienz.com::df5086f6-13ed-4e69-b43c-17720522b05d" providerId="AD" clId="Web-{E43DB6EA-01AD-F658-1084-376FB4668AEE}" dt="2020-07-29T21:59:15.619" v="6" actId="20577"/>
          <ac:spMkLst>
            <pc:docMk/>
            <pc:sldMk cId="3462066453" sldId="2076138691"/>
            <ac:spMk id="3" creationId="{F93A2ADC-0DA8-42EC-BD72-F649AE7FEC96}"/>
          </ac:spMkLst>
        </pc:spChg>
        <pc:spChg chg="mod">
          <ac:chgData name="Julie Campbell" userId="S::juliec@audienz.com::df5086f6-13ed-4e69-b43c-17720522b05d" providerId="AD" clId="Web-{E43DB6EA-01AD-F658-1084-376FB4668AEE}" dt="2020-07-29T21:59:15.651" v="9" actId="20577"/>
          <ac:spMkLst>
            <pc:docMk/>
            <pc:sldMk cId="3462066453" sldId="2076138691"/>
            <ac:spMk id="4" creationId="{52F7B1C5-2CA2-42D1-A6B9-6830C6556826}"/>
          </ac:spMkLst>
        </pc:spChg>
        <pc:spChg chg="mod">
          <ac:chgData name="Julie Campbell" userId="S::juliec@audienz.com::df5086f6-13ed-4e69-b43c-17720522b05d" providerId="AD" clId="Web-{E43DB6EA-01AD-F658-1084-376FB4668AEE}" dt="2020-07-29T21:59:15.635" v="7" actId="20577"/>
          <ac:spMkLst>
            <pc:docMk/>
            <pc:sldMk cId="3462066453" sldId="2076138691"/>
            <ac:spMk id="7" creationId="{4F34BE9C-E3B0-43B6-8599-D446128F7472}"/>
          </ac:spMkLst>
        </pc:spChg>
        <pc:spChg chg="mod">
          <ac:chgData name="Julie Campbell" userId="S::juliec@audienz.com::df5086f6-13ed-4e69-b43c-17720522b05d" providerId="AD" clId="Web-{E43DB6EA-01AD-F658-1084-376FB4668AEE}" dt="2020-07-29T21:59:15.666" v="10" actId="20577"/>
          <ac:spMkLst>
            <pc:docMk/>
            <pc:sldMk cId="3462066453" sldId="2076138691"/>
            <ac:spMk id="26" creationId="{72FFE7B0-BE4A-4E14-9BC6-2843381FB89D}"/>
          </ac:spMkLst>
        </pc:spChg>
        <pc:spChg chg="mod">
          <ac:chgData name="Julie Campbell" userId="S::juliec@audienz.com::df5086f6-13ed-4e69-b43c-17720522b05d" providerId="AD" clId="Web-{E43DB6EA-01AD-F658-1084-376FB4668AEE}" dt="2020-07-29T21:59:15.682" v="11" actId="20577"/>
          <ac:spMkLst>
            <pc:docMk/>
            <pc:sldMk cId="3462066453" sldId="2076138691"/>
            <ac:spMk id="27" creationId="{D2FCAC5A-73B0-4947-9706-B40200B1BA68}"/>
          </ac:spMkLst>
        </pc:spChg>
        <pc:spChg chg="mod">
          <ac:chgData name="Julie Campbell" userId="S::juliec@audienz.com::df5086f6-13ed-4e69-b43c-17720522b05d" providerId="AD" clId="Web-{E43DB6EA-01AD-F658-1084-376FB4668AEE}" dt="2020-07-29T21:59:15.713" v="12" actId="20577"/>
          <ac:spMkLst>
            <pc:docMk/>
            <pc:sldMk cId="3462066453" sldId="2076138691"/>
            <ac:spMk id="28" creationId="{1E4EC704-D16E-469B-BA2F-B84B40F5D116}"/>
          </ac:spMkLst>
        </pc:spChg>
        <pc:spChg chg="mod">
          <ac:chgData name="Julie Campbell" userId="S::juliec@audienz.com::df5086f6-13ed-4e69-b43c-17720522b05d" providerId="AD" clId="Web-{E43DB6EA-01AD-F658-1084-376FB4668AEE}" dt="2020-07-29T21:59:15.729" v="13" actId="20577"/>
          <ac:spMkLst>
            <pc:docMk/>
            <pc:sldMk cId="3462066453" sldId="2076138691"/>
            <ac:spMk id="31" creationId="{65280891-32A3-42E0-9236-478ED8236B1B}"/>
          </ac:spMkLst>
        </pc:spChg>
        <pc:spChg chg="mod">
          <ac:chgData name="Julie Campbell" userId="S::juliec@audienz.com::df5086f6-13ed-4e69-b43c-17720522b05d" providerId="AD" clId="Web-{E43DB6EA-01AD-F658-1084-376FB4668AEE}" dt="2020-07-29T21:59:15.744" v="14" actId="20577"/>
          <ac:spMkLst>
            <pc:docMk/>
            <pc:sldMk cId="3462066453" sldId="2076138691"/>
            <ac:spMk id="32" creationId="{3376AC92-7F05-4030-8DD6-8A24CB89158C}"/>
          </ac:spMkLst>
        </pc:spChg>
        <pc:spChg chg="mod">
          <ac:chgData name="Julie Campbell" userId="S::juliec@audienz.com::df5086f6-13ed-4e69-b43c-17720522b05d" providerId="AD" clId="Web-{E43DB6EA-01AD-F658-1084-376FB4668AEE}" dt="2020-07-29T21:59:15.760" v="15" actId="20577"/>
          <ac:spMkLst>
            <pc:docMk/>
            <pc:sldMk cId="3462066453" sldId="2076138691"/>
            <ac:spMk id="33" creationId="{A1B7CD91-F6B1-4C3B-809B-D55A81362395}"/>
          </ac:spMkLst>
        </pc:spChg>
        <pc:spChg chg="mod">
          <ac:chgData name="Julie Campbell" userId="S::juliec@audienz.com::df5086f6-13ed-4e69-b43c-17720522b05d" providerId="AD" clId="Web-{E43DB6EA-01AD-F658-1084-376FB4668AEE}" dt="2020-07-29T21:59:15.760" v="16" actId="20577"/>
          <ac:spMkLst>
            <pc:docMk/>
            <pc:sldMk cId="3462066453" sldId="2076138691"/>
            <ac:spMk id="45" creationId="{C67B2D41-EEAE-458D-AF14-FA207188604B}"/>
          </ac:spMkLst>
        </pc:spChg>
        <pc:spChg chg="mod">
          <ac:chgData name="Julie Campbell" userId="S::juliec@audienz.com::df5086f6-13ed-4e69-b43c-17720522b05d" providerId="AD" clId="Web-{E43DB6EA-01AD-F658-1084-376FB4668AEE}" dt="2020-07-29T21:59:15.776" v="17" actId="20577"/>
          <ac:spMkLst>
            <pc:docMk/>
            <pc:sldMk cId="3462066453" sldId="2076138691"/>
            <ac:spMk id="46" creationId="{5ADD729C-3EAE-4F10-BFCE-9BA99C505CA0}"/>
          </ac:spMkLst>
        </pc:spChg>
        <pc:spChg chg="mod">
          <ac:chgData name="Julie Campbell" userId="S::juliec@audienz.com::df5086f6-13ed-4e69-b43c-17720522b05d" providerId="AD" clId="Web-{E43DB6EA-01AD-F658-1084-376FB4668AEE}" dt="2020-07-29T21:59:15.791" v="18" actId="20577"/>
          <ac:spMkLst>
            <pc:docMk/>
            <pc:sldMk cId="3462066453" sldId="2076138691"/>
            <ac:spMk id="47" creationId="{B9C6F703-2CBC-4A85-B17F-B9326AC134EF}"/>
          </ac:spMkLst>
        </pc:spChg>
        <pc:spChg chg="mod">
          <ac:chgData name="Julie Campbell" userId="S::juliec@audienz.com::df5086f6-13ed-4e69-b43c-17720522b05d" providerId="AD" clId="Web-{E43DB6EA-01AD-F658-1084-376FB4668AEE}" dt="2020-07-29T21:59:15.807" v="20" actId="20577"/>
          <ac:spMkLst>
            <pc:docMk/>
            <pc:sldMk cId="3462066453" sldId="2076138691"/>
            <ac:spMk id="48" creationId="{57C36C55-01B0-4A3C-BA81-34293B53520A}"/>
          </ac:spMkLst>
        </pc:spChg>
        <pc:spChg chg="mod">
          <ac:chgData name="Julie Campbell" userId="S::juliec@audienz.com::df5086f6-13ed-4e69-b43c-17720522b05d" providerId="AD" clId="Web-{E43DB6EA-01AD-F658-1084-376FB4668AEE}" dt="2020-07-29T21:59:15.838" v="22" actId="20577"/>
          <ac:spMkLst>
            <pc:docMk/>
            <pc:sldMk cId="3462066453" sldId="2076138691"/>
            <ac:spMk id="49" creationId="{163639F7-B1D3-45E4-901B-4D6764399CCF}"/>
          </ac:spMkLst>
        </pc:spChg>
        <pc:spChg chg="mod">
          <ac:chgData name="Julie Campbell" userId="S::juliec@audienz.com::df5086f6-13ed-4e69-b43c-17720522b05d" providerId="AD" clId="Web-{E43DB6EA-01AD-F658-1084-376FB4668AEE}" dt="2020-07-29T21:59:15.854" v="24" actId="20577"/>
          <ac:spMkLst>
            <pc:docMk/>
            <pc:sldMk cId="3462066453" sldId="2076138691"/>
            <ac:spMk id="50" creationId="{1BFEBBB4-5B3E-421F-AC3A-3A4D88773D1E}"/>
          </ac:spMkLst>
        </pc:spChg>
        <pc:spChg chg="mod">
          <ac:chgData name="Julie Campbell" userId="S::juliec@audienz.com::df5086f6-13ed-4e69-b43c-17720522b05d" providerId="AD" clId="Web-{E43DB6EA-01AD-F658-1084-376FB4668AEE}" dt="2020-07-29T21:59:15.869" v="26" actId="20577"/>
          <ac:spMkLst>
            <pc:docMk/>
            <pc:sldMk cId="3462066453" sldId="2076138691"/>
            <ac:spMk id="54" creationId="{883F2707-EAC1-4E39-863E-CDB84C59BF56}"/>
          </ac:spMkLst>
        </pc:spChg>
      </pc:sldChg>
      <pc:sldChg chg="modSp">
        <pc:chgData name="Julie Campbell" userId="S::juliec@audienz.com::df5086f6-13ed-4e69-b43c-17720522b05d" providerId="AD" clId="Web-{E43DB6EA-01AD-F658-1084-376FB4668AEE}" dt="2020-07-29T21:59:22.932" v="51" actId="20577"/>
        <pc:sldMkLst>
          <pc:docMk/>
          <pc:sldMk cId="2169715888" sldId="2076138692"/>
        </pc:sldMkLst>
        <pc:spChg chg="mod">
          <ac:chgData name="Julie Campbell" userId="S::juliec@audienz.com::df5086f6-13ed-4e69-b43c-17720522b05d" providerId="AD" clId="Web-{E43DB6EA-01AD-F658-1084-376FB4668AEE}" dt="2020-07-29T21:59:22.120" v="31" actId="20577"/>
          <ac:spMkLst>
            <pc:docMk/>
            <pc:sldMk cId="2169715888" sldId="2076138692"/>
            <ac:spMk id="2" creationId="{AD699C65-3B8A-49BC-8B88-3815BEAA13F9}"/>
          </ac:spMkLst>
        </pc:spChg>
        <pc:spChg chg="mod">
          <ac:chgData name="Julie Campbell" userId="S::juliec@audienz.com::df5086f6-13ed-4e69-b43c-17720522b05d" providerId="AD" clId="Web-{E43DB6EA-01AD-F658-1084-376FB4668AEE}" dt="2020-07-29T21:59:22.792" v="37" actId="20577"/>
          <ac:spMkLst>
            <pc:docMk/>
            <pc:sldMk cId="2169715888" sldId="2076138692"/>
            <ac:spMk id="3" creationId="{65572686-CED9-4B12-93CF-8B1F870727A1}"/>
          </ac:spMkLst>
        </pc:spChg>
        <pc:spChg chg="mod">
          <ac:chgData name="Julie Campbell" userId="S::juliec@audienz.com::df5086f6-13ed-4e69-b43c-17720522b05d" providerId="AD" clId="Web-{E43DB6EA-01AD-F658-1084-376FB4668AEE}" dt="2020-07-29T21:59:22.088" v="29" actId="20577"/>
          <ac:spMkLst>
            <pc:docMk/>
            <pc:sldMk cId="2169715888" sldId="2076138692"/>
            <ac:spMk id="12" creationId="{E0D494F3-48FA-4F7A-969E-E1E5E06AEFB2}"/>
          </ac:spMkLst>
        </pc:spChg>
        <pc:spChg chg="mod">
          <ac:chgData name="Julie Campbell" userId="S::juliec@audienz.com::df5086f6-13ed-4e69-b43c-17720522b05d" providerId="AD" clId="Web-{E43DB6EA-01AD-F658-1084-376FB4668AEE}" dt="2020-07-29T21:59:22.776" v="36" actId="20577"/>
          <ac:spMkLst>
            <pc:docMk/>
            <pc:sldMk cId="2169715888" sldId="2076138692"/>
            <ac:spMk id="13" creationId="{D152B271-59E0-4419-81C5-0634F3884976}"/>
          </ac:spMkLst>
        </pc:spChg>
        <pc:spChg chg="mod">
          <ac:chgData name="Julie Campbell" userId="S::juliec@audienz.com::df5086f6-13ed-4e69-b43c-17720522b05d" providerId="AD" clId="Web-{E43DB6EA-01AD-F658-1084-376FB4668AEE}" dt="2020-07-29T21:59:22.807" v="38" actId="20577"/>
          <ac:spMkLst>
            <pc:docMk/>
            <pc:sldMk cId="2169715888" sldId="2076138692"/>
            <ac:spMk id="22" creationId="{481C8E38-8CA9-4F1D-B793-87CD497CA46B}"/>
          </ac:spMkLst>
        </pc:spChg>
        <pc:spChg chg="mod">
          <ac:chgData name="Julie Campbell" userId="S::juliec@audienz.com::df5086f6-13ed-4e69-b43c-17720522b05d" providerId="AD" clId="Web-{E43DB6EA-01AD-F658-1084-376FB4668AEE}" dt="2020-07-29T21:59:22.135" v="33" actId="20577"/>
          <ac:spMkLst>
            <pc:docMk/>
            <pc:sldMk cId="2169715888" sldId="2076138692"/>
            <ac:spMk id="23" creationId="{FEBB921F-697D-4448-9539-C6C64BC5E159}"/>
          </ac:spMkLst>
        </pc:spChg>
        <pc:spChg chg="mod">
          <ac:chgData name="Julie Campbell" userId="S::juliec@audienz.com::df5086f6-13ed-4e69-b43c-17720522b05d" providerId="AD" clId="Web-{E43DB6EA-01AD-F658-1084-376FB4668AEE}" dt="2020-07-29T21:59:22.354" v="34" actId="20577"/>
          <ac:spMkLst>
            <pc:docMk/>
            <pc:sldMk cId="2169715888" sldId="2076138692"/>
            <ac:spMk id="27" creationId="{2B2CEAAB-4F56-4F60-81EF-21DBA8F734CE}"/>
          </ac:spMkLst>
        </pc:spChg>
        <pc:spChg chg="mod">
          <ac:chgData name="Julie Campbell" userId="S::juliec@audienz.com::df5086f6-13ed-4e69-b43c-17720522b05d" providerId="AD" clId="Web-{E43DB6EA-01AD-F658-1084-376FB4668AEE}" dt="2020-07-29T21:59:22.573" v="35" actId="20577"/>
          <ac:spMkLst>
            <pc:docMk/>
            <pc:sldMk cId="2169715888" sldId="2076138692"/>
            <ac:spMk id="28" creationId="{ECABFFDF-00F5-4AD3-A523-51F0B4697BCD}"/>
          </ac:spMkLst>
        </pc:spChg>
        <pc:spChg chg="mod">
          <ac:chgData name="Julie Campbell" userId="S::juliec@audienz.com::df5086f6-13ed-4e69-b43c-17720522b05d" providerId="AD" clId="Web-{E43DB6EA-01AD-F658-1084-376FB4668AEE}" dt="2020-07-29T21:59:22.104" v="30" actId="20577"/>
          <ac:spMkLst>
            <pc:docMk/>
            <pc:sldMk cId="2169715888" sldId="2076138692"/>
            <ac:spMk id="29" creationId="{07E21AD9-72DE-4681-AC95-41F797A46E2A}"/>
          </ac:spMkLst>
        </pc:spChg>
        <pc:spChg chg="mod">
          <ac:chgData name="Julie Campbell" userId="S::juliec@audienz.com::df5086f6-13ed-4e69-b43c-17720522b05d" providerId="AD" clId="Web-{E43DB6EA-01AD-F658-1084-376FB4668AEE}" dt="2020-07-29T21:59:22.823" v="39" actId="20577"/>
          <ac:spMkLst>
            <pc:docMk/>
            <pc:sldMk cId="2169715888" sldId="2076138692"/>
            <ac:spMk id="30" creationId="{2FE20A9D-E770-411C-B285-A60F38D50D4A}"/>
          </ac:spMkLst>
        </pc:spChg>
        <pc:spChg chg="mod">
          <ac:chgData name="Julie Campbell" userId="S::juliec@audienz.com::df5086f6-13ed-4e69-b43c-17720522b05d" providerId="AD" clId="Web-{E43DB6EA-01AD-F658-1084-376FB4668AEE}" dt="2020-07-29T21:59:22.838" v="40" actId="20577"/>
          <ac:spMkLst>
            <pc:docMk/>
            <pc:sldMk cId="2169715888" sldId="2076138692"/>
            <ac:spMk id="31" creationId="{2FFDB4D0-2A6A-4EAB-857D-D3DE880A85D7}"/>
          </ac:spMkLst>
        </pc:spChg>
        <pc:spChg chg="mod">
          <ac:chgData name="Julie Campbell" userId="S::juliec@audienz.com::df5086f6-13ed-4e69-b43c-17720522b05d" providerId="AD" clId="Web-{E43DB6EA-01AD-F658-1084-376FB4668AEE}" dt="2020-07-29T21:59:22.854" v="41" actId="20577"/>
          <ac:spMkLst>
            <pc:docMk/>
            <pc:sldMk cId="2169715888" sldId="2076138692"/>
            <ac:spMk id="32" creationId="{FFE333BC-21C3-4433-9C40-84B0E17A6BD4}"/>
          </ac:spMkLst>
        </pc:spChg>
        <pc:spChg chg="mod">
          <ac:chgData name="Julie Campbell" userId="S::juliec@audienz.com::df5086f6-13ed-4e69-b43c-17720522b05d" providerId="AD" clId="Web-{E43DB6EA-01AD-F658-1084-376FB4668AEE}" dt="2020-07-29T21:59:22.870" v="42" actId="20577"/>
          <ac:spMkLst>
            <pc:docMk/>
            <pc:sldMk cId="2169715888" sldId="2076138692"/>
            <ac:spMk id="33" creationId="{37D495D3-6433-462C-8A26-35107F417D5D}"/>
          </ac:spMkLst>
        </pc:spChg>
        <pc:spChg chg="mod">
          <ac:chgData name="Julie Campbell" userId="S::juliec@audienz.com::df5086f6-13ed-4e69-b43c-17720522b05d" providerId="AD" clId="Web-{E43DB6EA-01AD-F658-1084-376FB4668AEE}" dt="2020-07-29T21:59:22.885" v="43" actId="20577"/>
          <ac:spMkLst>
            <pc:docMk/>
            <pc:sldMk cId="2169715888" sldId="2076138692"/>
            <ac:spMk id="40" creationId="{1D18BAD1-11DC-4CE0-AAFD-BD3E5ABED96F}"/>
          </ac:spMkLst>
        </pc:spChg>
        <pc:spChg chg="mod">
          <ac:chgData name="Julie Campbell" userId="S::juliec@audienz.com::df5086f6-13ed-4e69-b43c-17720522b05d" providerId="AD" clId="Web-{E43DB6EA-01AD-F658-1084-376FB4668AEE}" dt="2020-07-29T21:59:22.901" v="45" actId="20577"/>
          <ac:spMkLst>
            <pc:docMk/>
            <pc:sldMk cId="2169715888" sldId="2076138692"/>
            <ac:spMk id="41" creationId="{B7780D8A-52EF-45CE-9F52-7100DD89152B}"/>
          </ac:spMkLst>
        </pc:spChg>
        <pc:spChg chg="mod">
          <ac:chgData name="Julie Campbell" userId="S::juliec@audienz.com::df5086f6-13ed-4e69-b43c-17720522b05d" providerId="AD" clId="Web-{E43DB6EA-01AD-F658-1084-376FB4668AEE}" dt="2020-07-29T21:59:22.917" v="48" actId="20577"/>
          <ac:spMkLst>
            <pc:docMk/>
            <pc:sldMk cId="2169715888" sldId="2076138692"/>
            <ac:spMk id="42" creationId="{35C02D10-579F-4702-AB42-4D982A155CA2}"/>
          </ac:spMkLst>
        </pc:spChg>
        <pc:spChg chg="mod">
          <ac:chgData name="Julie Campbell" userId="S::juliec@audienz.com::df5086f6-13ed-4e69-b43c-17720522b05d" providerId="AD" clId="Web-{E43DB6EA-01AD-F658-1084-376FB4668AEE}" dt="2020-07-29T21:59:22.088" v="28" actId="20577"/>
          <ac:spMkLst>
            <pc:docMk/>
            <pc:sldMk cId="2169715888" sldId="2076138692"/>
            <ac:spMk id="43" creationId="{3148AE56-EC4B-4973-83CC-8ACC48680C7C}"/>
          </ac:spMkLst>
        </pc:spChg>
        <pc:spChg chg="mod">
          <ac:chgData name="Julie Campbell" userId="S::juliec@audienz.com::df5086f6-13ed-4e69-b43c-17720522b05d" providerId="AD" clId="Web-{E43DB6EA-01AD-F658-1084-376FB4668AEE}" dt="2020-07-29T21:59:22.917" v="49" actId="20577"/>
          <ac:spMkLst>
            <pc:docMk/>
            <pc:sldMk cId="2169715888" sldId="2076138692"/>
            <ac:spMk id="45" creationId="{7604DE5B-B9BE-48FF-BD90-ED1863603D45}"/>
          </ac:spMkLst>
        </pc:spChg>
        <pc:spChg chg="mod">
          <ac:chgData name="Julie Campbell" userId="S::juliec@audienz.com::df5086f6-13ed-4e69-b43c-17720522b05d" providerId="AD" clId="Web-{E43DB6EA-01AD-F658-1084-376FB4668AEE}" dt="2020-07-29T21:59:22.932" v="50" actId="20577"/>
          <ac:spMkLst>
            <pc:docMk/>
            <pc:sldMk cId="2169715888" sldId="2076138692"/>
            <ac:spMk id="46" creationId="{992958B3-6FE4-4175-83AD-8C5B79788659}"/>
          </ac:spMkLst>
        </pc:spChg>
        <pc:spChg chg="mod">
          <ac:chgData name="Julie Campbell" userId="S::juliec@audienz.com::df5086f6-13ed-4e69-b43c-17720522b05d" providerId="AD" clId="Web-{E43DB6EA-01AD-F658-1084-376FB4668AEE}" dt="2020-07-29T21:59:22.932" v="51" actId="20577"/>
          <ac:spMkLst>
            <pc:docMk/>
            <pc:sldMk cId="2169715888" sldId="2076138692"/>
            <ac:spMk id="47" creationId="{170DC440-6AAC-4FAD-8E19-297EFF24EA2A}"/>
          </ac:spMkLst>
        </pc:spChg>
      </pc:sldChg>
      <pc:sldChg chg="modSp">
        <pc:chgData name="Julie Campbell" userId="S::juliec@audienz.com::df5086f6-13ed-4e69-b43c-17720522b05d" providerId="AD" clId="Web-{E43DB6EA-01AD-F658-1084-376FB4668AEE}" dt="2020-07-29T21:59:30.448" v="75" actId="20577"/>
        <pc:sldMkLst>
          <pc:docMk/>
          <pc:sldMk cId="2889758978" sldId="2076138694"/>
        </pc:sldMkLst>
        <pc:spChg chg="mod">
          <ac:chgData name="Julie Campbell" userId="S::juliec@audienz.com::df5086f6-13ed-4e69-b43c-17720522b05d" providerId="AD" clId="Web-{E43DB6EA-01AD-F658-1084-376FB4668AEE}" dt="2020-07-29T21:59:30.276" v="62" actId="20577"/>
          <ac:spMkLst>
            <pc:docMk/>
            <pc:sldMk cId="2889758978" sldId="2076138694"/>
            <ac:spMk id="2" creationId="{AD699C65-3B8A-49BC-8B88-3815BEAA13F9}"/>
          </ac:spMkLst>
        </pc:spChg>
        <pc:spChg chg="mod">
          <ac:chgData name="Julie Campbell" userId="S::juliec@audienz.com::df5086f6-13ed-4e69-b43c-17720522b05d" providerId="AD" clId="Web-{E43DB6EA-01AD-F658-1084-376FB4668AEE}" dt="2020-07-29T21:59:30.433" v="72" actId="20577"/>
          <ac:spMkLst>
            <pc:docMk/>
            <pc:sldMk cId="2889758978" sldId="2076138694"/>
            <ac:spMk id="21" creationId="{BCC84543-8262-4B9B-9CF3-EFBC7B61C8A6}"/>
          </ac:spMkLst>
        </pc:spChg>
        <pc:spChg chg="mod">
          <ac:chgData name="Julie Campbell" userId="S::juliec@audienz.com::df5086f6-13ed-4e69-b43c-17720522b05d" providerId="AD" clId="Web-{E43DB6EA-01AD-F658-1084-376FB4668AEE}" dt="2020-07-29T21:59:30.433" v="73" actId="20577"/>
          <ac:spMkLst>
            <pc:docMk/>
            <pc:sldMk cId="2889758978" sldId="2076138694"/>
            <ac:spMk id="22" creationId="{FDB36756-EE87-4AB8-83F5-D4135A2399B1}"/>
          </ac:spMkLst>
        </pc:spChg>
        <pc:spChg chg="mod">
          <ac:chgData name="Julie Campbell" userId="S::juliec@audienz.com::df5086f6-13ed-4e69-b43c-17720522b05d" providerId="AD" clId="Web-{E43DB6EA-01AD-F658-1084-376FB4668AEE}" dt="2020-07-29T21:59:29.604" v="52" actId="20577"/>
          <ac:spMkLst>
            <pc:docMk/>
            <pc:sldMk cId="2889758978" sldId="2076138694"/>
            <ac:spMk id="23" creationId="{5D917E9C-9FE1-4B51-803E-9DC9FB0331F9}"/>
          </ac:spMkLst>
        </pc:spChg>
        <pc:spChg chg="mod">
          <ac:chgData name="Julie Campbell" userId="S::juliec@audienz.com::df5086f6-13ed-4e69-b43c-17720522b05d" providerId="AD" clId="Web-{E43DB6EA-01AD-F658-1084-376FB4668AEE}" dt="2020-07-29T21:59:30.448" v="74" actId="20577"/>
          <ac:spMkLst>
            <pc:docMk/>
            <pc:sldMk cId="2889758978" sldId="2076138694"/>
            <ac:spMk id="24" creationId="{E7932A2D-FA9E-4604-A5A6-FDBC16D2BB99}"/>
          </ac:spMkLst>
        </pc:spChg>
        <pc:spChg chg="mod">
          <ac:chgData name="Julie Campbell" userId="S::juliec@audienz.com::df5086f6-13ed-4e69-b43c-17720522b05d" providerId="AD" clId="Web-{E43DB6EA-01AD-F658-1084-376FB4668AEE}" dt="2020-07-29T21:59:29.620" v="53" actId="20577"/>
          <ac:spMkLst>
            <pc:docMk/>
            <pc:sldMk cId="2889758978" sldId="2076138694"/>
            <ac:spMk id="26" creationId="{0A13D14F-5739-4310-8FCD-2FEBC1C32DF5}"/>
          </ac:spMkLst>
        </pc:spChg>
        <pc:spChg chg="mod">
          <ac:chgData name="Julie Campbell" userId="S::juliec@audienz.com::df5086f6-13ed-4e69-b43c-17720522b05d" providerId="AD" clId="Web-{E43DB6EA-01AD-F658-1084-376FB4668AEE}" dt="2020-07-29T21:59:29.823" v="54" actId="20577"/>
          <ac:spMkLst>
            <pc:docMk/>
            <pc:sldMk cId="2889758978" sldId="2076138694"/>
            <ac:spMk id="27" creationId="{3B6F4DAC-3FB1-45F0-A63B-25FAF0451B83}"/>
          </ac:spMkLst>
        </pc:spChg>
        <pc:spChg chg="mod">
          <ac:chgData name="Julie Campbell" userId="S::juliec@audienz.com::df5086f6-13ed-4e69-b43c-17720522b05d" providerId="AD" clId="Web-{E43DB6EA-01AD-F658-1084-376FB4668AEE}" dt="2020-07-29T21:59:30.042" v="55" actId="20577"/>
          <ac:spMkLst>
            <pc:docMk/>
            <pc:sldMk cId="2889758978" sldId="2076138694"/>
            <ac:spMk id="28" creationId="{EC5B1361-DB3A-48FA-972B-35BC549C8EBF}"/>
          </ac:spMkLst>
        </pc:spChg>
        <pc:spChg chg="mod">
          <ac:chgData name="Julie Campbell" userId="S::juliec@audienz.com::df5086f6-13ed-4e69-b43c-17720522b05d" providerId="AD" clId="Web-{E43DB6EA-01AD-F658-1084-376FB4668AEE}" dt="2020-07-29T21:59:30.448" v="75" actId="20577"/>
          <ac:spMkLst>
            <pc:docMk/>
            <pc:sldMk cId="2889758978" sldId="2076138694"/>
            <ac:spMk id="29" creationId="{025C4AC2-47DD-4F95-8C92-203EE2EB117E}"/>
          </ac:spMkLst>
        </pc:spChg>
        <pc:spChg chg="mod">
          <ac:chgData name="Julie Campbell" userId="S::juliec@audienz.com::df5086f6-13ed-4e69-b43c-17720522b05d" providerId="AD" clId="Web-{E43DB6EA-01AD-F658-1084-376FB4668AEE}" dt="2020-07-29T21:59:30.323" v="66" actId="20577"/>
          <ac:spMkLst>
            <pc:docMk/>
            <pc:sldMk cId="2889758978" sldId="2076138694"/>
            <ac:spMk id="31" creationId="{819CF805-D456-43E0-BEE4-6150F7FAFC8A}"/>
          </ac:spMkLst>
        </pc:spChg>
        <pc:spChg chg="mod">
          <ac:chgData name="Julie Campbell" userId="S::juliec@audienz.com::df5086f6-13ed-4e69-b43c-17720522b05d" providerId="AD" clId="Web-{E43DB6EA-01AD-F658-1084-376FB4668AEE}" dt="2020-07-29T21:59:30.339" v="67" actId="20577"/>
          <ac:spMkLst>
            <pc:docMk/>
            <pc:sldMk cId="2889758978" sldId="2076138694"/>
            <ac:spMk id="32" creationId="{BA01FD34-7049-45D0-8E6C-5C55DAEF8114}"/>
          </ac:spMkLst>
        </pc:spChg>
        <pc:spChg chg="mod">
          <ac:chgData name="Julie Campbell" userId="S::juliec@audienz.com::df5086f6-13ed-4e69-b43c-17720522b05d" providerId="AD" clId="Web-{E43DB6EA-01AD-F658-1084-376FB4668AEE}" dt="2020-07-29T21:59:30.355" v="68" actId="20577"/>
          <ac:spMkLst>
            <pc:docMk/>
            <pc:sldMk cId="2889758978" sldId="2076138694"/>
            <ac:spMk id="34" creationId="{2387A0E6-DDEB-488B-AC2B-7B9CC0B0E017}"/>
          </ac:spMkLst>
        </pc:spChg>
        <pc:spChg chg="mod">
          <ac:chgData name="Julie Campbell" userId="S::juliec@audienz.com::df5086f6-13ed-4e69-b43c-17720522b05d" providerId="AD" clId="Web-{E43DB6EA-01AD-F658-1084-376FB4668AEE}" dt="2020-07-29T21:59:30.370" v="69" actId="20577"/>
          <ac:spMkLst>
            <pc:docMk/>
            <pc:sldMk cId="2889758978" sldId="2076138694"/>
            <ac:spMk id="35" creationId="{5EDFE9DC-F194-4068-9FF8-8E155592CA1C}"/>
          </ac:spMkLst>
        </pc:spChg>
        <pc:spChg chg="mod">
          <ac:chgData name="Julie Campbell" userId="S::juliec@audienz.com::df5086f6-13ed-4e69-b43c-17720522b05d" providerId="AD" clId="Web-{E43DB6EA-01AD-F658-1084-376FB4668AEE}" dt="2020-07-29T21:59:30.386" v="70" actId="20577"/>
          <ac:spMkLst>
            <pc:docMk/>
            <pc:sldMk cId="2889758978" sldId="2076138694"/>
            <ac:spMk id="37" creationId="{57875DF0-9CC5-4B73-929C-F7EDA852A82A}"/>
          </ac:spMkLst>
        </pc:spChg>
        <pc:spChg chg="mod">
          <ac:chgData name="Julie Campbell" userId="S::juliec@audienz.com::df5086f6-13ed-4e69-b43c-17720522b05d" providerId="AD" clId="Web-{E43DB6EA-01AD-F658-1084-376FB4668AEE}" dt="2020-07-29T21:59:30.401" v="71" actId="20577"/>
          <ac:spMkLst>
            <pc:docMk/>
            <pc:sldMk cId="2889758978" sldId="2076138694"/>
            <ac:spMk id="38" creationId="{0D510569-71BE-4A0D-B9E6-BE03BA6BD0C8}"/>
          </ac:spMkLst>
        </pc:spChg>
        <pc:spChg chg="mod">
          <ac:chgData name="Julie Campbell" userId="S::juliec@audienz.com::df5086f6-13ed-4e69-b43c-17720522b05d" providerId="AD" clId="Web-{E43DB6EA-01AD-F658-1084-376FB4668AEE}" dt="2020-07-29T21:59:30.245" v="57" actId="20577"/>
          <ac:spMkLst>
            <pc:docMk/>
            <pc:sldMk cId="2889758978" sldId="2076138694"/>
            <ac:spMk id="39" creationId="{036037FE-F771-43E0-B796-569C4123FAD3}"/>
          </ac:spMkLst>
        </pc:spChg>
        <pc:spChg chg="mod">
          <ac:chgData name="Julie Campbell" userId="S::juliec@audienz.com::df5086f6-13ed-4e69-b43c-17720522b05d" providerId="AD" clId="Web-{E43DB6EA-01AD-F658-1084-376FB4668AEE}" dt="2020-07-29T21:59:30.261" v="59" actId="20577"/>
          <ac:spMkLst>
            <pc:docMk/>
            <pc:sldMk cId="2889758978" sldId="2076138694"/>
            <ac:spMk id="40" creationId="{D3C7CD02-20A2-4AA2-9F16-149F7941867B}"/>
          </ac:spMkLst>
        </pc:spChg>
        <pc:spChg chg="mod">
          <ac:chgData name="Julie Campbell" userId="S::juliec@audienz.com::df5086f6-13ed-4e69-b43c-17720522b05d" providerId="AD" clId="Web-{E43DB6EA-01AD-F658-1084-376FB4668AEE}" dt="2020-07-29T21:59:30.261" v="61" actId="20577"/>
          <ac:spMkLst>
            <pc:docMk/>
            <pc:sldMk cId="2889758978" sldId="2076138694"/>
            <ac:spMk id="41" creationId="{4FAC1E35-3AA0-470F-B26A-A877BF3AC99A}"/>
          </ac:spMkLst>
        </pc:spChg>
        <pc:spChg chg="mod">
          <ac:chgData name="Julie Campbell" userId="S::juliec@audienz.com::df5086f6-13ed-4e69-b43c-17720522b05d" providerId="AD" clId="Web-{E43DB6EA-01AD-F658-1084-376FB4668AEE}" dt="2020-07-29T21:59:30.292" v="64" actId="20577"/>
          <ac:spMkLst>
            <pc:docMk/>
            <pc:sldMk cId="2889758978" sldId="2076138694"/>
            <ac:spMk id="43" creationId="{9D20065B-D641-4900-A80B-01541A2B4B63}"/>
          </ac:spMkLst>
        </pc:spChg>
        <pc:spChg chg="mod">
          <ac:chgData name="Julie Campbell" userId="S::juliec@audienz.com::df5086f6-13ed-4e69-b43c-17720522b05d" providerId="AD" clId="Web-{E43DB6EA-01AD-F658-1084-376FB4668AEE}" dt="2020-07-29T21:59:30.308" v="65" actId="20577"/>
          <ac:spMkLst>
            <pc:docMk/>
            <pc:sldMk cId="2889758978" sldId="2076138694"/>
            <ac:spMk id="44" creationId="{102FCDD0-3493-473B-9836-9136581F5D0E}"/>
          </ac:spMkLst>
        </pc:spChg>
      </pc:sldChg>
      <pc:sldChg chg="modSp">
        <pc:chgData name="Julie Campbell" userId="S::juliec@audienz.com::df5086f6-13ed-4e69-b43c-17720522b05d" providerId="AD" clId="Web-{E43DB6EA-01AD-F658-1084-376FB4668AEE}" dt="2020-07-29T21:59:35.574" v="99" actId="20577"/>
        <pc:sldMkLst>
          <pc:docMk/>
          <pc:sldMk cId="1923306787" sldId="2076138695"/>
        </pc:sldMkLst>
        <pc:spChg chg="mod">
          <ac:chgData name="Julie Campbell" userId="S::juliec@audienz.com::df5086f6-13ed-4e69-b43c-17720522b05d" providerId="AD" clId="Web-{E43DB6EA-01AD-F658-1084-376FB4668AEE}" dt="2020-07-29T21:59:35.386" v="86" actId="20577"/>
          <ac:spMkLst>
            <pc:docMk/>
            <pc:sldMk cId="1923306787" sldId="2076138695"/>
            <ac:spMk id="2" creationId="{AD699C65-3B8A-49BC-8B88-3815BEAA13F9}"/>
          </ac:spMkLst>
        </pc:spChg>
        <pc:spChg chg="mod">
          <ac:chgData name="Julie Campbell" userId="S::juliec@audienz.com::df5086f6-13ed-4e69-b43c-17720522b05d" providerId="AD" clId="Web-{E43DB6EA-01AD-F658-1084-376FB4668AEE}" dt="2020-07-29T21:59:35.558" v="97" actId="20577"/>
          <ac:spMkLst>
            <pc:docMk/>
            <pc:sldMk cId="1923306787" sldId="2076138695"/>
            <ac:spMk id="21" creationId="{67A94569-B099-4937-8276-CA33B122431A}"/>
          </ac:spMkLst>
        </pc:spChg>
        <pc:spChg chg="mod">
          <ac:chgData name="Julie Campbell" userId="S::juliec@audienz.com::df5086f6-13ed-4e69-b43c-17720522b05d" providerId="AD" clId="Web-{E43DB6EA-01AD-F658-1084-376FB4668AEE}" dt="2020-07-29T21:59:35.574" v="98" actId="20577"/>
          <ac:spMkLst>
            <pc:docMk/>
            <pc:sldMk cId="1923306787" sldId="2076138695"/>
            <ac:spMk id="22" creationId="{67466FBE-8350-4F90-A36C-E8BA9A253DC8}"/>
          </ac:spMkLst>
        </pc:spChg>
        <pc:spChg chg="mod">
          <ac:chgData name="Julie Campbell" userId="S::juliec@audienz.com::df5086f6-13ed-4e69-b43c-17720522b05d" providerId="AD" clId="Web-{E43DB6EA-01AD-F658-1084-376FB4668AEE}" dt="2020-07-29T21:59:35.574" v="99" actId="20577"/>
          <ac:spMkLst>
            <pc:docMk/>
            <pc:sldMk cId="1923306787" sldId="2076138695"/>
            <ac:spMk id="23" creationId="{184B30D1-9FA4-4249-B44C-6AD2BA3D5F4D}"/>
          </ac:spMkLst>
        </pc:spChg>
        <pc:spChg chg="mod">
          <ac:chgData name="Julie Campbell" userId="S::juliec@audienz.com::df5086f6-13ed-4e69-b43c-17720522b05d" providerId="AD" clId="Web-{E43DB6EA-01AD-F658-1084-376FB4668AEE}" dt="2020-07-29T21:59:34.652" v="76" actId="20577"/>
          <ac:spMkLst>
            <pc:docMk/>
            <pc:sldMk cId="1923306787" sldId="2076138695"/>
            <ac:spMk id="24" creationId="{768FC6F2-5A54-45D9-B82D-4C962CB79118}"/>
          </ac:spMkLst>
        </pc:spChg>
        <pc:spChg chg="mod">
          <ac:chgData name="Julie Campbell" userId="S::juliec@audienz.com::df5086f6-13ed-4e69-b43c-17720522b05d" providerId="AD" clId="Web-{E43DB6EA-01AD-F658-1084-376FB4668AEE}" dt="2020-07-29T21:59:34.667" v="77" actId="20577"/>
          <ac:spMkLst>
            <pc:docMk/>
            <pc:sldMk cId="1923306787" sldId="2076138695"/>
            <ac:spMk id="26" creationId="{AE4D7CC4-A153-4D2B-BF6B-FEC27CEC8551}"/>
          </ac:spMkLst>
        </pc:spChg>
        <pc:spChg chg="mod">
          <ac:chgData name="Julie Campbell" userId="S::juliec@audienz.com::df5086f6-13ed-4e69-b43c-17720522b05d" providerId="AD" clId="Web-{E43DB6EA-01AD-F658-1084-376FB4668AEE}" dt="2020-07-29T21:59:34.902" v="78" actId="20577"/>
          <ac:spMkLst>
            <pc:docMk/>
            <pc:sldMk cId="1923306787" sldId="2076138695"/>
            <ac:spMk id="27" creationId="{7598255E-2677-49F2-9908-6BF9417DE4F1}"/>
          </ac:spMkLst>
        </pc:spChg>
        <pc:spChg chg="mod">
          <ac:chgData name="Julie Campbell" userId="S::juliec@audienz.com::df5086f6-13ed-4e69-b43c-17720522b05d" providerId="AD" clId="Web-{E43DB6EA-01AD-F658-1084-376FB4668AEE}" dt="2020-07-29T21:59:35.120" v="79" actId="20577"/>
          <ac:spMkLst>
            <pc:docMk/>
            <pc:sldMk cId="1923306787" sldId="2076138695"/>
            <ac:spMk id="28" creationId="{761A3092-CACC-40C4-A130-2E99AA2E3073}"/>
          </ac:spMkLst>
        </pc:spChg>
        <pc:spChg chg="mod">
          <ac:chgData name="Julie Campbell" userId="S::juliec@audienz.com::df5086f6-13ed-4e69-b43c-17720522b05d" providerId="AD" clId="Web-{E43DB6EA-01AD-F658-1084-376FB4668AEE}" dt="2020-07-29T21:59:35.433" v="90" actId="20577"/>
          <ac:spMkLst>
            <pc:docMk/>
            <pc:sldMk cId="1923306787" sldId="2076138695"/>
            <ac:spMk id="29" creationId="{D6EB9503-1338-4C65-860C-7DE0E3581E9D}"/>
          </ac:spMkLst>
        </pc:spChg>
        <pc:spChg chg="mod">
          <ac:chgData name="Julie Campbell" userId="S::juliec@audienz.com::df5086f6-13ed-4e69-b43c-17720522b05d" providerId="AD" clId="Web-{E43DB6EA-01AD-F658-1084-376FB4668AEE}" dt="2020-07-29T21:59:35.449" v="91" actId="20577"/>
          <ac:spMkLst>
            <pc:docMk/>
            <pc:sldMk cId="1923306787" sldId="2076138695"/>
            <ac:spMk id="31" creationId="{455DB22A-9CC4-453B-B34A-EF3075D4F6A1}"/>
          </ac:spMkLst>
        </pc:spChg>
        <pc:spChg chg="mod">
          <ac:chgData name="Julie Campbell" userId="S::juliec@audienz.com::df5086f6-13ed-4e69-b43c-17720522b05d" providerId="AD" clId="Web-{E43DB6EA-01AD-F658-1084-376FB4668AEE}" dt="2020-07-29T21:59:35.464" v="92" actId="20577"/>
          <ac:spMkLst>
            <pc:docMk/>
            <pc:sldMk cId="1923306787" sldId="2076138695"/>
            <ac:spMk id="32" creationId="{5DE25EC5-1323-4DE9-B917-7AE3F4285C9B}"/>
          </ac:spMkLst>
        </pc:spChg>
        <pc:spChg chg="mod">
          <ac:chgData name="Julie Campbell" userId="S::juliec@audienz.com::df5086f6-13ed-4e69-b43c-17720522b05d" providerId="AD" clId="Web-{E43DB6EA-01AD-F658-1084-376FB4668AEE}" dt="2020-07-29T21:59:35.480" v="93" actId="20577"/>
          <ac:spMkLst>
            <pc:docMk/>
            <pc:sldMk cId="1923306787" sldId="2076138695"/>
            <ac:spMk id="34" creationId="{11E441D4-7D76-4BEA-9DBD-172A24E417ED}"/>
          </ac:spMkLst>
        </pc:spChg>
        <pc:spChg chg="mod">
          <ac:chgData name="Julie Campbell" userId="S::juliec@audienz.com::df5086f6-13ed-4e69-b43c-17720522b05d" providerId="AD" clId="Web-{E43DB6EA-01AD-F658-1084-376FB4668AEE}" dt="2020-07-29T21:59:35.511" v="94" actId="20577"/>
          <ac:spMkLst>
            <pc:docMk/>
            <pc:sldMk cId="1923306787" sldId="2076138695"/>
            <ac:spMk id="35" creationId="{D2FF3CC0-8006-4B32-8F16-A703830CB039}"/>
          </ac:spMkLst>
        </pc:spChg>
        <pc:spChg chg="mod">
          <ac:chgData name="Julie Campbell" userId="S::juliec@audienz.com::df5086f6-13ed-4e69-b43c-17720522b05d" providerId="AD" clId="Web-{E43DB6EA-01AD-F658-1084-376FB4668AEE}" dt="2020-07-29T21:59:35.527" v="95" actId="20577"/>
          <ac:spMkLst>
            <pc:docMk/>
            <pc:sldMk cId="1923306787" sldId="2076138695"/>
            <ac:spMk id="37" creationId="{6FBA74E2-AF67-4724-B743-E0C371A764B4}"/>
          </ac:spMkLst>
        </pc:spChg>
        <pc:spChg chg="mod">
          <ac:chgData name="Julie Campbell" userId="S::juliec@audienz.com::df5086f6-13ed-4e69-b43c-17720522b05d" providerId="AD" clId="Web-{E43DB6EA-01AD-F658-1084-376FB4668AEE}" dt="2020-07-29T21:59:35.542" v="96" actId="20577"/>
          <ac:spMkLst>
            <pc:docMk/>
            <pc:sldMk cId="1923306787" sldId="2076138695"/>
            <ac:spMk id="38" creationId="{D44B0AC3-C0CB-42BC-8039-9DA8D4CA33AA}"/>
          </ac:spMkLst>
        </pc:spChg>
        <pc:spChg chg="mod">
          <ac:chgData name="Julie Campbell" userId="S::juliec@audienz.com::df5086f6-13ed-4e69-b43c-17720522b05d" providerId="AD" clId="Web-{E43DB6EA-01AD-F658-1084-376FB4668AEE}" dt="2020-07-29T21:59:35.355" v="81" actId="20577"/>
          <ac:spMkLst>
            <pc:docMk/>
            <pc:sldMk cId="1923306787" sldId="2076138695"/>
            <ac:spMk id="39" creationId="{E8482CAE-0BD5-4C07-9E9D-EAA24A1C15FF}"/>
          </ac:spMkLst>
        </pc:spChg>
        <pc:spChg chg="mod">
          <ac:chgData name="Julie Campbell" userId="S::juliec@audienz.com::df5086f6-13ed-4e69-b43c-17720522b05d" providerId="AD" clId="Web-{E43DB6EA-01AD-F658-1084-376FB4668AEE}" dt="2020-07-29T21:59:35.370" v="83" actId="20577"/>
          <ac:spMkLst>
            <pc:docMk/>
            <pc:sldMk cId="1923306787" sldId="2076138695"/>
            <ac:spMk id="40" creationId="{0E9E2356-3364-4148-B10A-46A987607CDD}"/>
          </ac:spMkLst>
        </pc:spChg>
        <pc:spChg chg="mod">
          <ac:chgData name="Julie Campbell" userId="S::juliec@audienz.com::df5086f6-13ed-4e69-b43c-17720522b05d" providerId="AD" clId="Web-{E43DB6EA-01AD-F658-1084-376FB4668AEE}" dt="2020-07-29T21:59:35.370" v="85" actId="20577"/>
          <ac:spMkLst>
            <pc:docMk/>
            <pc:sldMk cId="1923306787" sldId="2076138695"/>
            <ac:spMk id="41" creationId="{51E18605-3CAF-4080-9CD4-EA662F7E5C5D}"/>
          </ac:spMkLst>
        </pc:spChg>
        <pc:spChg chg="mod">
          <ac:chgData name="Julie Campbell" userId="S::juliec@audienz.com::df5086f6-13ed-4e69-b43c-17720522b05d" providerId="AD" clId="Web-{E43DB6EA-01AD-F658-1084-376FB4668AEE}" dt="2020-07-29T21:59:35.402" v="88" actId="20577"/>
          <ac:spMkLst>
            <pc:docMk/>
            <pc:sldMk cId="1923306787" sldId="2076138695"/>
            <ac:spMk id="43" creationId="{5AA09FF7-1D47-460D-AF0B-E77063867F8F}"/>
          </ac:spMkLst>
        </pc:spChg>
        <pc:spChg chg="mod">
          <ac:chgData name="Julie Campbell" userId="S::juliec@audienz.com::df5086f6-13ed-4e69-b43c-17720522b05d" providerId="AD" clId="Web-{E43DB6EA-01AD-F658-1084-376FB4668AEE}" dt="2020-07-29T21:59:35.417" v="89" actId="20577"/>
          <ac:spMkLst>
            <pc:docMk/>
            <pc:sldMk cId="1923306787" sldId="2076138695"/>
            <ac:spMk id="44" creationId="{BA123C2B-99A8-45A7-8D66-498BF4C1440D}"/>
          </ac:spMkLst>
        </pc:spChg>
      </pc:sldChg>
      <pc:sldChg chg="modSp">
        <pc:chgData name="Julie Campbell" userId="S::juliec@audienz.com::df5086f6-13ed-4e69-b43c-17720522b05d" providerId="AD" clId="Web-{E43DB6EA-01AD-F658-1084-376FB4668AEE}" dt="2020-07-29T21:59:54.731" v="120" actId="20577"/>
        <pc:sldMkLst>
          <pc:docMk/>
          <pc:sldMk cId="3048428055" sldId="2076138696"/>
        </pc:sldMkLst>
        <pc:spChg chg="mod">
          <ac:chgData name="Julie Campbell" userId="S::juliec@audienz.com::df5086f6-13ed-4e69-b43c-17720522b05d" providerId="AD" clId="Web-{E43DB6EA-01AD-F658-1084-376FB4668AEE}" dt="2020-07-29T21:59:54.012" v="100" actId="20577"/>
          <ac:spMkLst>
            <pc:docMk/>
            <pc:sldMk cId="3048428055" sldId="2076138696"/>
            <ac:spMk id="8" creationId="{C11BD993-4A3B-4B81-8FFF-170D8261EB29}"/>
          </ac:spMkLst>
        </pc:spChg>
        <pc:spChg chg="mod">
          <ac:chgData name="Julie Campbell" userId="S::juliec@audienz.com::df5086f6-13ed-4e69-b43c-17720522b05d" providerId="AD" clId="Web-{E43DB6EA-01AD-F658-1084-376FB4668AEE}" dt="2020-07-29T21:59:54.043" v="104" actId="20577"/>
          <ac:spMkLst>
            <pc:docMk/>
            <pc:sldMk cId="3048428055" sldId="2076138696"/>
            <ac:spMk id="12" creationId="{6CA0F6D4-DFE6-48D7-9ADA-2DBC6ADBBC03}"/>
          </ac:spMkLst>
        </pc:spChg>
        <pc:spChg chg="mod">
          <ac:chgData name="Julie Campbell" userId="S::juliec@audienz.com::df5086f6-13ed-4e69-b43c-17720522b05d" providerId="AD" clId="Web-{E43DB6EA-01AD-F658-1084-376FB4668AEE}" dt="2020-07-29T21:59:54.028" v="101" actId="20577"/>
          <ac:spMkLst>
            <pc:docMk/>
            <pc:sldMk cId="3048428055" sldId="2076138696"/>
            <ac:spMk id="32" creationId="{E5144EC5-4165-40C7-B7BB-1F87902703EB}"/>
          </ac:spMkLst>
        </pc:spChg>
        <pc:spChg chg="mod">
          <ac:chgData name="Julie Campbell" userId="S::juliec@audienz.com::df5086f6-13ed-4e69-b43c-17720522b05d" providerId="AD" clId="Web-{E43DB6EA-01AD-F658-1084-376FB4668AEE}" dt="2020-07-29T21:59:54.043" v="103" actId="20577"/>
          <ac:spMkLst>
            <pc:docMk/>
            <pc:sldMk cId="3048428055" sldId="2076138696"/>
            <ac:spMk id="33" creationId="{3EBDFC26-6F98-46E1-8385-318F5EF78715}"/>
          </ac:spMkLst>
        </pc:spChg>
        <pc:spChg chg="mod">
          <ac:chgData name="Julie Campbell" userId="S::juliec@audienz.com::df5086f6-13ed-4e69-b43c-17720522b05d" providerId="AD" clId="Web-{E43DB6EA-01AD-F658-1084-376FB4668AEE}" dt="2020-07-29T21:59:54.043" v="105" actId="20577"/>
          <ac:spMkLst>
            <pc:docMk/>
            <pc:sldMk cId="3048428055" sldId="2076138696"/>
            <ac:spMk id="34" creationId="{5A29FCA5-BA7E-4E98-86AC-575EEDCD4188}"/>
          </ac:spMkLst>
        </pc:spChg>
        <pc:spChg chg="mod">
          <ac:chgData name="Julie Campbell" userId="S::juliec@audienz.com::df5086f6-13ed-4e69-b43c-17720522b05d" providerId="AD" clId="Web-{E43DB6EA-01AD-F658-1084-376FB4668AEE}" dt="2020-07-29T21:59:54.434" v="115" actId="20577"/>
          <ac:spMkLst>
            <pc:docMk/>
            <pc:sldMk cId="3048428055" sldId="2076138696"/>
            <ac:spMk id="36" creationId="{8EF5588F-4F0B-4A16-90BF-C4032C73CC2F}"/>
          </ac:spMkLst>
        </pc:spChg>
        <pc:spChg chg="mod">
          <ac:chgData name="Julie Campbell" userId="S::juliec@audienz.com::df5086f6-13ed-4e69-b43c-17720522b05d" providerId="AD" clId="Web-{E43DB6EA-01AD-F658-1084-376FB4668AEE}" dt="2020-07-29T21:59:54.512" v="116" actId="20577"/>
          <ac:spMkLst>
            <pc:docMk/>
            <pc:sldMk cId="3048428055" sldId="2076138696"/>
            <ac:spMk id="37" creationId="{1BC241B1-2DF4-4495-9DC3-A89788F2E4C1}"/>
          </ac:spMkLst>
        </pc:spChg>
        <pc:spChg chg="mod">
          <ac:chgData name="Julie Campbell" userId="S::juliec@audienz.com::df5086f6-13ed-4e69-b43c-17720522b05d" providerId="AD" clId="Web-{E43DB6EA-01AD-F658-1084-376FB4668AEE}" dt="2020-07-29T21:59:54.106" v="108" actId="20577"/>
          <ac:spMkLst>
            <pc:docMk/>
            <pc:sldMk cId="3048428055" sldId="2076138696"/>
            <ac:spMk id="39" creationId="{E50202F4-130A-4844-84D3-D6EFAC5B4AC9}"/>
          </ac:spMkLst>
        </pc:spChg>
        <pc:spChg chg="mod">
          <ac:chgData name="Julie Campbell" userId="S::juliec@audienz.com::df5086f6-13ed-4e69-b43c-17720522b05d" providerId="AD" clId="Web-{E43DB6EA-01AD-F658-1084-376FB4668AEE}" dt="2020-07-29T21:59:54.168" v="109" actId="20577"/>
          <ac:spMkLst>
            <pc:docMk/>
            <pc:sldMk cId="3048428055" sldId="2076138696"/>
            <ac:spMk id="40" creationId="{5D44B51D-C4CE-4029-8BDB-BE446EF519FB}"/>
          </ac:spMkLst>
        </pc:spChg>
        <pc:spChg chg="mod">
          <ac:chgData name="Julie Campbell" userId="S::juliec@audienz.com::df5086f6-13ed-4e69-b43c-17720522b05d" providerId="AD" clId="Web-{E43DB6EA-01AD-F658-1084-376FB4668AEE}" dt="2020-07-29T21:59:54.668" v="119" actId="20577"/>
          <ac:spMkLst>
            <pc:docMk/>
            <pc:sldMk cId="3048428055" sldId="2076138696"/>
            <ac:spMk id="42" creationId="{3DA284DB-9A65-4D77-9CE3-F869BA774094}"/>
          </ac:spMkLst>
        </pc:spChg>
        <pc:spChg chg="mod">
          <ac:chgData name="Julie Campbell" userId="S::juliec@audienz.com::df5086f6-13ed-4e69-b43c-17720522b05d" providerId="AD" clId="Web-{E43DB6EA-01AD-F658-1084-376FB4668AEE}" dt="2020-07-29T21:59:54.731" v="120" actId="20577"/>
          <ac:spMkLst>
            <pc:docMk/>
            <pc:sldMk cId="3048428055" sldId="2076138696"/>
            <ac:spMk id="43" creationId="{4F3EBF7B-A289-4EEF-91AF-BD0DBE3C3FF4}"/>
          </ac:spMkLst>
        </pc:spChg>
        <pc:spChg chg="mod">
          <ac:chgData name="Julie Campbell" userId="S::juliec@audienz.com::df5086f6-13ed-4e69-b43c-17720522b05d" providerId="AD" clId="Web-{E43DB6EA-01AD-F658-1084-376FB4668AEE}" dt="2020-07-29T21:59:54.372" v="113" actId="20577"/>
          <ac:spMkLst>
            <pc:docMk/>
            <pc:sldMk cId="3048428055" sldId="2076138696"/>
            <ac:spMk id="44" creationId="{EDF97E9F-14B4-442E-A569-82B1B4C44557}"/>
          </ac:spMkLst>
        </pc:spChg>
        <pc:spChg chg="mod">
          <ac:chgData name="Julie Campbell" userId="S::juliec@audienz.com::df5086f6-13ed-4e69-b43c-17720522b05d" providerId="AD" clId="Web-{E43DB6EA-01AD-F658-1084-376FB4668AEE}" dt="2020-07-29T21:59:54.059" v="106" actId="20577"/>
          <ac:spMkLst>
            <pc:docMk/>
            <pc:sldMk cId="3048428055" sldId="2076138696"/>
            <ac:spMk id="45" creationId="{5E5B6C6A-51CA-43EC-9A38-DBBA99624DFB}"/>
          </ac:spMkLst>
        </pc:spChg>
        <pc:spChg chg="mod">
          <ac:chgData name="Julie Campbell" userId="S::juliec@audienz.com::df5086f6-13ed-4e69-b43c-17720522b05d" providerId="AD" clId="Web-{E43DB6EA-01AD-F658-1084-376FB4668AEE}" dt="2020-07-29T21:59:54.575" v="117" actId="20577"/>
          <ac:spMkLst>
            <pc:docMk/>
            <pc:sldMk cId="3048428055" sldId="2076138696"/>
            <ac:spMk id="46" creationId="{C091AB6E-D4B7-4DD9-9BF0-E2C9118E9F89}"/>
          </ac:spMkLst>
        </pc:spChg>
        <pc:spChg chg="mod">
          <ac:chgData name="Julie Campbell" userId="S::juliec@audienz.com::df5086f6-13ed-4e69-b43c-17720522b05d" providerId="AD" clId="Web-{E43DB6EA-01AD-F658-1084-376FB4668AEE}" dt="2020-07-29T21:59:54.215" v="110" actId="20577"/>
          <ac:spMkLst>
            <pc:docMk/>
            <pc:sldMk cId="3048428055" sldId="2076138696"/>
            <ac:spMk id="50" creationId="{A860260F-5DA7-4DF2-8B8E-28D5A5C54095}"/>
          </ac:spMkLst>
        </pc:spChg>
        <pc:spChg chg="mod">
          <ac:chgData name="Julie Campbell" userId="S::juliec@audienz.com::df5086f6-13ed-4e69-b43c-17720522b05d" providerId="AD" clId="Web-{E43DB6EA-01AD-F658-1084-376FB4668AEE}" dt="2020-07-29T21:59:54.262" v="111" actId="20577"/>
          <ac:spMkLst>
            <pc:docMk/>
            <pc:sldMk cId="3048428055" sldId="2076138696"/>
            <ac:spMk id="51" creationId="{97306CE3-3AF4-47F8-A95B-F6F3208C292B}"/>
          </ac:spMkLst>
        </pc:spChg>
        <pc:spChg chg="mod">
          <ac:chgData name="Julie Campbell" userId="S::juliec@audienz.com::df5086f6-13ed-4e69-b43c-17720522b05d" providerId="AD" clId="Web-{E43DB6EA-01AD-F658-1084-376FB4668AEE}" dt="2020-07-29T21:59:54.309" v="112" actId="20577"/>
          <ac:spMkLst>
            <pc:docMk/>
            <pc:sldMk cId="3048428055" sldId="2076138696"/>
            <ac:spMk id="52" creationId="{CEC91F73-7B45-4A54-AD72-051CF780D656}"/>
          </ac:spMkLst>
        </pc:spChg>
      </pc:sldChg>
      <pc:sldChg chg="modSp delCm">
        <pc:chgData name="Julie Campbell" userId="S::juliec@audienz.com::df5086f6-13ed-4e69-b43c-17720522b05d" providerId="AD" clId="Web-{E43DB6EA-01AD-F658-1084-376FB4668AEE}" dt="2020-07-29T22:03:16.024" v="384" actId="20577"/>
        <pc:sldMkLst>
          <pc:docMk/>
          <pc:sldMk cId="2301707706" sldId="2076138703"/>
        </pc:sldMkLst>
        <pc:spChg chg="mod">
          <ac:chgData name="Julie Campbell" userId="S::juliec@audienz.com::df5086f6-13ed-4e69-b43c-17720522b05d" providerId="AD" clId="Web-{E43DB6EA-01AD-F658-1084-376FB4668AEE}" dt="2020-07-29T22:03:15.774" v="370" actId="20577"/>
          <ac:spMkLst>
            <pc:docMk/>
            <pc:sldMk cId="2301707706" sldId="2076138703"/>
            <ac:spMk id="2" creationId="{90549FAB-2294-4A9D-8B09-2424EAE0B6AA}"/>
          </ac:spMkLst>
        </pc:spChg>
        <pc:spChg chg="mod">
          <ac:chgData name="Julie Campbell" userId="S::juliec@audienz.com::df5086f6-13ed-4e69-b43c-17720522b05d" providerId="AD" clId="Web-{E43DB6EA-01AD-F658-1084-376FB4668AEE}" dt="2020-07-29T22:03:15.774" v="369" actId="20577"/>
          <ac:spMkLst>
            <pc:docMk/>
            <pc:sldMk cId="2301707706" sldId="2076138703"/>
            <ac:spMk id="3" creationId="{1FBD3B07-8AA5-4475-AD8A-58699CE499D7}"/>
          </ac:spMkLst>
        </pc:spChg>
        <pc:spChg chg="mod">
          <ac:chgData name="Julie Campbell" userId="S::juliec@audienz.com::df5086f6-13ed-4e69-b43c-17720522b05d" providerId="AD" clId="Web-{E43DB6EA-01AD-F658-1084-376FB4668AEE}" dt="2020-07-29T22:03:15.790" v="372" actId="20577"/>
          <ac:spMkLst>
            <pc:docMk/>
            <pc:sldMk cId="2301707706" sldId="2076138703"/>
            <ac:spMk id="6" creationId="{EE7F752D-9214-4647-B2B8-3A5304ACE6D8}"/>
          </ac:spMkLst>
        </pc:spChg>
        <pc:spChg chg="mod">
          <ac:chgData name="Julie Campbell" userId="S::juliec@audienz.com::df5086f6-13ed-4e69-b43c-17720522b05d" providerId="AD" clId="Web-{E43DB6EA-01AD-F658-1084-376FB4668AEE}" dt="2020-07-29T22:03:15.790" v="374" actId="20577"/>
          <ac:spMkLst>
            <pc:docMk/>
            <pc:sldMk cId="2301707706" sldId="2076138703"/>
            <ac:spMk id="7" creationId="{D11A2C91-92BF-4BA1-97D9-C62BFA6C6FBA}"/>
          </ac:spMkLst>
        </pc:spChg>
        <pc:spChg chg="mod">
          <ac:chgData name="Julie Campbell" userId="S::juliec@audienz.com::df5086f6-13ed-4e69-b43c-17720522b05d" providerId="AD" clId="Web-{E43DB6EA-01AD-F658-1084-376FB4668AEE}" dt="2020-07-29T22:03:15.805" v="375" actId="20577"/>
          <ac:spMkLst>
            <pc:docMk/>
            <pc:sldMk cId="2301707706" sldId="2076138703"/>
            <ac:spMk id="8" creationId="{B78E821E-C258-4C46-BF1D-E0769AEC4950}"/>
          </ac:spMkLst>
        </pc:spChg>
        <pc:spChg chg="mod">
          <ac:chgData name="Julie Campbell" userId="S::juliec@audienz.com::df5086f6-13ed-4e69-b43c-17720522b05d" providerId="AD" clId="Web-{E43DB6EA-01AD-F658-1084-376FB4668AEE}" dt="2020-07-29T22:03:15.805" v="377" actId="20577"/>
          <ac:spMkLst>
            <pc:docMk/>
            <pc:sldMk cId="2301707706" sldId="2076138703"/>
            <ac:spMk id="9" creationId="{58EC0274-0B11-4CD8-9025-1D197EEA6C78}"/>
          </ac:spMkLst>
        </pc:spChg>
        <pc:spChg chg="mod">
          <ac:chgData name="Julie Campbell" userId="S::juliec@audienz.com::df5086f6-13ed-4e69-b43c-17720522b05d" providerId="AD" clId="Web-{E43DB6EA-01AD-F658-1084-376FB4668AEE}" dt="2020-07-29T22:03:15.821" v="378" actId="20577"/>
          <ac:spMkLst>
            <pc:docMk/>
            <pc:sldMk cId="2301707706" sldId="2076138703"/>
            <ac:spMk id="10" creationId="{B87E2844-6651-4AB9-BD68-A93DDB86A9BF}"/>
          </ac:spMkLst>
        </pc:spChg>
        <pc:spChg chg="mod">
          <ac:chgData name="Julie Campbell" userId="S::juliec@audienz.com::df5086f6-13ed-4e69-b43c-17720522b05d" providerId="AD" clId="Web-{E43DB6EA-01AD-F658-1084-376FB4668AEE}" dt="2020-07-29T22:03:15.837" v="380" actId="20577"/>
          <ac:spMkLst>
            <pc:docMk/>
            <pc:sldMk cId="2301707706" sldId="2076138703"/>
            <ac:spMk id="11" creationId="{7D33A5AE-78BE-480C-8300-AEED16C36870}"/>
          </ac:spMkLst>
        </pc:spChg>
        <pc:spChg chg="mod">
          <ac:chgData name="Julie Campbell" userId="S::juliec@audienz.com::df5086f6-13ed-4e69-b43c-17720522b05d" providerId="AD" clId="Web-{E43DB6EA-01AD-F658-1084-376FB4668AEE}" dt="2020-07-29T22:03:15.837" v="381" actId="20577"/>
          <ac:spMkLst>
            <pc:docMk/>
            <pc:sldMk cId="2301707706" sldId="2076138703"/>
            <ac:spMk id="14" creationId="{AEBB1F95-261C-4C30-B8A6-0998B31CC442}"/>
          </ac:spMkLst>
        </pc:spChg>
        <pc:spChg chg="mod">
          <ac:chgData name="Julie Campbell" userId="S::juliec@audienz.com::df5086f6-13ed-4e69-b43c-17720522b05d" providerId="AD" clId="Web-{E43DB6EA-01AD-F658-1084-376FB4668AEE}" dt="2020-07-29T22:03:16.008" v="382" actId="20577"/>
          <ac:spMkLst>
            <pc:docMk/>
            <pc:sldMk cId="2301707706" sldId="2076138703"/>
            <ac:spMk id="18" creationId="{AD309233-9C72-4717-B15F-B6352C2D5095}"/>
          </ac:spMkLst>
        </pc:spChg>
        <pc:spChg chg="mod">
          <ac:chgData name="Julie Campbell" userId="S::juliec@audienz.com::df5086f6-13ed-4e69-b43c-17720522b05d" providerId="AD" clId="Web-{E43DB6EA-01AD-F658-1084-376FB4668AEE}" dt="2020-07-29T22:03:16.008" v="383" actId="20577"/>
          <ac:spMkLst>
            <pc:docMk/>
            <pc:sldMk cId="2301707706" sldId="2076138703"/>
            <ac:spMk id="19" creationId="{4AEC6EF0-55BF-4CFF-B246-FB8B0B3514CF}"/>
          </ac:spMkLst>
        </pc:spChg>
        <pc:spChg chg="mod">
          <ac:chgData name="Julie Campbell" userId="S::juliec@audienz.com::df5086f6-13ed-4e69-b43c-17720522b05d" providerId="AD" clId="Web-{E43DB6EA-01AD-F658-1084-376FB4668AEE}" dt="2020-07-29T22:03:16.024" v="384" actId="20577"/>
          <ac:spMkLst>
            <pc:docMk/>
            <pc:sldMk cId="2301707706" sldId="2076138703"/>
            <ac:spMk id="20" creationId="{1B46BFFA-D1AE-4586-8D81-EC86302D02F8}"/>
          </ac:spMkLst>
        </pc:spChg>
        <pc:spChg chg="mod">
          <ac:chgData name="Julie Campbell" userId="S::juliec@audienz.com::df5086f6-13ed-4e69-b43c-17720522b05d" providerId="AD" clId="Web-{E43DB6EA-01AD-F658-1084-376FB4668AEE}" dt="2020-07-29T22:03:15.758" v="367" actId="20577"/>
          <ac:spMkLst>
            <pc:docMk/>
            <pc:sldMk cId="2301707706" sldId="2076138703"/>
            <ac:spMk id="21" creationId="{44DD5277-A5C9-4D1B-8BC8-094D60BD371D}"/>
          </ac:spMkLst>
        </pc:spChg>
        <pc:spChg chg="mod">
          <ac:chgData name="Julie Campbell" userId="S::juliec@audienz.com::df5086f6-13ed-4e69-b43c-17720522b05d" providerId="AD" clId="Web-{E43DB6EA-01AD-F658-1084-376FB4668AEE}" dt="2020-07-29T22:03:15.758" v="368" actId="20577"/>
          <ac:spMkLst>
            <pc:docMk/>
            <pc:sldMk cId="2301707706" sldId="2076138703"/>
            <ac:spMk id="22" creationId="{07D6A9FA-026E-48AC-9143-571F90E4A0DE}"/>
          </ac:spMkLst>
        </pc:spChg>
      </pc:sldChg>
      <pc:sldChg chg="modSp">
        <pc:chgData name="Julie Campbell" userId="S::juliec@audienz.com::df5086f6-13ed-4e69-b43c-17720522b05d" providerId="AD" clId="Web-{E43DB6EA-01AD-F658-1084-376FB4668AEE}" dt="2020-07-29T22:00:13.076" v="157" actId="20577"/>
        <pc:sldMkLst>
          <pc:docMk/>
          <pc:sldMk cId="3931172874" sldId="2076138705"/>
        </pc:sldMkLst>
        <pc:spChg chg="mod">
          <ac:chgData name="Julie Campbell" userId="S::juliec@audienz.com::df5086f6-13ed-4e69-b43c-17720522b05d" providerId="AD" clId="Web-{E43DB6EA-01AD-F658-1084-376FB4668AEE}" dt="2020-07-29T22:00:13.029" v="153" actId="20577"/>
          <ac:spMkLst>
            <pc:docMk/>
            <pc:sldMk cId="3931172874" sldId="2076138705"/>
            <ac:spMk id="5" creationId="{044D14B0-A360-41F9-A85E-5E9453E9D8C4}"/>
          </ac:spMkLst>
        </pc:spChg>
        <pc:spChg chg="mod">
          <ac:chgData name="Julie Campbell" userId="S::juliec@audienz.com::df5086f6-13ed-4e69-b43c-17720522b05d" providerId="AD" clId="Web-{E43DB6EA-01AD-F658-1084-376FB4668AEE}" dt="2020-07-29T22:00:13.045" v="154" actId="20577"/>
          <ac:spMkLst>
            <pc:docMk/>
            <pc:sldMk cId="3931172874" sldId="2076138705"/>
            <ac:spMk id="20" creationId="{EAC39767-C36C-4163-AFE8-8190973B0F39}"/>
          </ac:spMkLst>
        </pc:spChg>
        <pc:spChg chg="mod">
          <ac:chgData name="Julie Campbell" userId="S::juliec@audienz.com::df5086f6-13ed-4e69-b43c-17720522b05d" providerId="AD" clId="Web-{E43DB6EA-01AD-F658-1084-376FB4668AEE}" dt="2020-07-29T22:00:13.029" v="152" actId="20577"/>
          <ac:spMkLst>
            <pc:docMk/>
            <pc:sldMk cId="3931172874" sldId="2076138705"/>
            <ac:spMk id="24" creationId="{882E1F91-25D3-4B80-8C3B-FB3283C3A995}"/>
          </ac:spMkLst>
        </pc:spChg>
        <pc:spChg chg="mod">
          <ac:chgData name="Julie Campbell" userId="S::juliec@audienz.com::df5086f6-13ed-4e69-b43c-17720522b05d" providerId="AD" clId="Web-{E43DB6EA-01AD-F658-1084-376FB4668AEE}" dt="2020-07-29T22:00:13.076" v="156" actId="20577"/>
          <ac:spMkLst>
            <pc:docMk/>
            <pc:sldMk cId="3931172874" sldId="2076138705"/>
            <ac:spMk id="25" creationId="{F98CE023-3DFA-40B3-8BAB-B1D7143AC27D}"/>
          </ac:spMkLst>
        </pc:spChg>
        <pc:spChg chg="mod">
          <ac:chgData name="Julie Campbell" userId="S::juliec@audienz.com::df5086f6-13ed-4e69-b43c-17720522b05d" providerId="AD" clId="Web-{E43DB6EA-01AD-F658-1084-376FB4668AEE}" dt="2020-07-29T22:00:13.076" v="157" actId="20577"/>
          <ac:spMkLst>
            <pc:docMk/>
            <pc:sldMk cId="3931172874" sldId="2076138705"/>
            <ac:spMk id="26" creationId="{8911E76D-2E01-4043-93EC-FF38816591C0}"/>
          </ac:spMkLst>
        </pc:spChg>
      </pc:sldChg>
      <pc:sldChg chg="modSp">
        <pc:chgData name="Julie Campbell" userId="S::juliec@audienz.com::df5086f6-13ed-4e69-b43c-17720522b05d" providerId="AD" clId="Web-{E43DB6EA-01AD-F658-1084-376FB4668AEE}" dt="2020-07-29T22:00:17.326" v="164" actId="20577"/>
        <pc:sldMkLst>
          <pc:docMk/>
          <pc:sldMk cId="3738456975" sldId="2076138706"/>
        </pc:sldMkLst>
        <pc:spChg chg="mod">
          <ac:chgData name="Julie Campbell" userId="S::juliec@audienz.com::df5086f6-13ed-4e69-b43c-17720522b05d" providerId="AD" clId="Web-{E43DB6EA-01AD-F658-1084-376FB4668AEE}" dt="2020-07-29T22:00:17.295" v="160" actId="20577"/>
          <ac:spMkLst>
            <pc:docMk/>
            <pc:sldMk cId="3738456975" sldId="2076138706"/>
            <ac:spMk id="2" creationId="{B52D58A4-387A-46EA-B65F-932A6A70B71A}"/>
          </ac:spMkLst>
        </pc:spChg>
        <pc:spChg chg="mod">
          <ac:chgData name="Julie Campbell" userId="S::juliec@audienz.com::df5086f6-13ed-4e69-b43c-17720522b05d" providerId="AD" clId="Web-{E43DB6EA-01AD-F658-1084-376FB4668AEE}" dt="2020-07-29T22:00:17.310" v="161" actId="20577"/>
          <ac:spMkLst>
            <pc:docMk/>
            <pc:sldMk cId="3738456975" sldId="2076138706"/>
            <ac:spMk id="3" creationId="{340DE840-E048-49A4-B02E-22A85DBDFADD}"/>
          </ac:spMkLst>
        </pc:spChg>
        <pc:spChg chg="mod">
          <ac:chgData name="Julie Campbell" userId="S::juliec@audienz.com::df5086f6-13ed-4e69-b43c-17720522b05d" providerId="AD" clId="Web-{E43DB6EA-01AD-F658-1084-376FB4668AEE}" dt="2020-07-29T22:00:17.295" v="159" actId="20577"/>
          <ac:spMkLst>
            <pc:docMk/>
            <pc:sldMk cId="3738456975" sldId="2076138706"/>
            <ac:spMk id="5" creationId="{044D14B0-A360-41F9-A85E-5E9453E9D8C4}"/>
          </ac:spMkLst>
        </pc:spChg>
        <pc:spChg chg="mod">
          <ac:chgData name="Julie Campbell" userId="S::juliec@audienz.com::df5086f6-13ed-4e69-b43c-17720522b05d" providerId="AD" clId="Web-{E43DB6EA-01AD-F658-1084-376FB4668AEE}" dt="2020-07-29T22:00:17.310" v="162" actId="20577"/>
          <ac:spMkLst>
            <pc:docMk/>
            <pc:sldMk cId="3738456975" sldId="2076138706"/>
            <ac:spMk id="20" creationId="{EAC39767-C36C-4163-AFE8-8190973B0F39}"/>
          </ac:spMkLst>
        </pc:spChg>
        <pc:spChg chg="mod">
          <ac:chgData name="Julie Campbell" userId="S::juliec@audienz.com::df5086f6-13ed-4e69-b43c-17720522b05d" providerId="AD" clId="Web-{E43DB6EA-01AD-F658-1084-376FB4668AEE}" dt="2020-07-29T22:00:17.326" v="164" actId="20577"/>
          <ac:spMkLst>
            <pc:docMk/>
            <pc:sldMk cId="3738456975" sldId="2076138706"/>
            <ac:spMk id="22" creationId="{793D4A78-0C36-4B71-A64A-4741E9E82647}"/>
          </ac:spMkLst>
        </pc:spChg>
      </pc:sldChg>
      <pc:sldChg chg="modSp">
        <pc:chgData name="Julie Campbell" userId="S::juliec@audienz.com::df5086f6-13ed-4e69-b43c-17720522b05d" providerId="AD" clId="Web-{E43DB6EA-01AD-F658-1084-376FB4668AEE}" dt="2020-07-29T22:00:06.450" v="151" actId="20577"/>
        <pc:sldMkLst>
          <pc:docMk/>
          <pc:sldMk cId="360490318" sldId="2076138707"/>
        </pc:sldMkLst>
        <pc:spChg chg="mod">
          <ac:chgData name="Julie Campbell" userId="S::juliec@audienz.com::df5086f6-13ed-4e69-b43c-17720522b05d" providerId="AD" clId="Web-{E43DB6EA-01AD-F658-1084-376FB4668AEE}" dt="2020-07-29T22:00:06.216" v="144" actId="20577"/>
          <ac:spMkLst>
            <pc:docMk/>
            <pc:sldMk cId="360490318" sldId="2076138707"/>
            <ac:spMk id="2" creationId="{13286E30-31AA-4456-BCA3-3F3AF807C5C8}"/>
          </ac:spMkLst>
        </pc:spChg>
        <pc:spChg chg="mod">
          <ac:chgData name="Julie Campbell" userId="S::juliec@audienz.com::df5086f6-13ed-4e69-b43c-17720522b05d" providerId="AD" clId="Web-{E43DB6EA-01AD-F658-1084-376FB4668AEE}" dt="2020-07-29T22:00:06.232" v="146" actId="20577"/>
          <ac:spMkLst>
            <pc:docMk/>
            <pc:sldMk cId="360490318" sldId="2076138707"/>
            <ac:spMk id="18" creationId="{73201976-19EC-41FD-9D3D-2F0CACCAC97E}"/>
          </ac:spMkLst>
        </pc:spChg>
        <pc:spChg chg="mod">
          <ac:chgData name="Julie Campbell" userId="S::juliec@audienz.com::df5086f6-13ed-4e69-b43c-17720522b05d" providerId="AD" clId="Web-{E43DB6EA-01AD-F658-1084-376FB4668AEE}" dt="2020-07-29T22:00:06.247" v="147" actId="20577"/>
          <ac:spMkLst>
            <pc:docMk/>
            <pc:sldMk cId="360490318" sldId="2076138707"/>
            <ac:spMk id="19" creationId="{E5DE8DC0-8F89-41DE-80F6-E9F47C210163}"/>
          </ac:spMkLst>
        </pc:spChg>
        <pc:spChg chg="mod">
          <ac:chgData name="Julie Campbell" userId="S::juliec@audienz.com::df5086f6-13ed-4e69-b43c-17720522b05d" providerId="AD" clId="Web-{E43DB6EA-01AD-F658-1084-376FB4668AEE}" dt="2020-07-29T22:00:06.263" v="148" actId="20577"/>
          <ac:spMkLst>
            <pc:docMk/>
            <pc:sldMk cId="360490318" sldId="2076138707"/>
            <ac:spMk id="23" creationId="{139B6FC6-7D77-4677-9BEE-CCE2972282F8}"/>
          </ac:spMkLst>
        </pc:spChg>
        <pc:spChg chg="mod">
          <ac:chgData name="Julie Campbell" userId="S::juliec@audienz.com::df5086f6-13ed-4e69-b43c-17720522b05d" providerId="AD" clId="Web-{E43DB6EA-01AD-F658-1084-376FB4668AEE}" dt="2020-07-29T22:00:06.310" v="149" actId="20577"/>
          <ac:spMkLst>
            <pc:docMk/>
            <pc:sldMk cId="360490318" sldId="2076138707"/>
            <ac:spMk id="24" creationId="{6DE1A319-DE1E-4B93-996A-5A84673FEB54}"/>
          </ac:spMkLst>
        </pc:spChg>
        <pc:spChg chg="mod">
          <ac:chgData name="Julie Campbell" userId="S::juliec@audienz.com::df5086f6-13ed-4e69-b43c-17720522b05d" providerId="AD" clId="Web-{E43DB6EA-01AD-F658-1084-376FB4668AEE}" dt="2020-07-29T22:00:06.404" v="150" actId="20577"/>
          <ac:spMkLst>
            <pc:docMk/>
            <pc:sldMk cId="360490318" sldId="2076138707"/>
            <ac:spMk id="25" creationId="{E5125A00-3D78-43BB-80C1-73FF889956B0}"/>
          </ac:spMkLst>
        </pc:spChg>
        <pc:spChg chg="mod">
          <ac:chgData name="Julie Campbell" userId="S::juliec@audienz.com::df5086f6-13ed-4e69-b43c-17720522b05d" providerId="AD" clId="Web-{E43DB6EA-01AD-F658-1084-376FB4668AEE}" dt="2020-07-29T22:00:06.450" v="151" actId="20577"/>
          <ac:spMkLst>
            <pc:docMk/>
            <pc:sldMk cId="360490318" sldId="2076138707"/>
            <ac:spMk id="26" creationId="{9F2C8ABC-B7FD-4C32-9196-C81746C7AB07}"/>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461FF9-1101-4FF6-B011-71C47DD619E5}" type="datetimeFigureOut">
              <a:rPr lang="en-US" smtClean="0"/>
              <a:t>7/2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D94F05-9B80-47A2-8DE1-8B8D9CE8625B}" type="slidenum">
              <a:rPr lang="en-US" smtClean="0"/>
              <a:t>‹#›</a:t>
            </a:fld>
            <a:endParaRPr lang="en-US"/>
          </a:p>
        </p:txBody>
      </p:sp>
    </p:spTree>
    <p:extLst>
      <p:ext uri="{BB962C8B-B14F-4D97-AF65-F5344CB8AC3E}">
        <p14:creationId xmlns:p14="http://schemas.microsoft.com/office/powerpoint/2010/main" val="1222900534"/>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D94F05-9B80-47A2-8DE1-8B8D9CE8625B}" type="slidenum">
              <a:rPr lang="en-US" smtClean="0"/>
              <a:t>1</a:t>
            </a:fld>
            <a:endParaRPr lang="en-US"/>
          </a:p>
        </p:txBody>
      </p:sp>
    </p:spTree>
    <p:extLst>
      <p:ext uri="{BB962C8B-B14F-4D97-AF65-F5344CB8AC3E}">
        <p14:creationId xmlns:p14="http://schemas.microsoft.com/office/powerpoint/2010/main" val="37495318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tivate digital selling with Dynamics 365 Sales. Learn more about its capabilities, get started now, or learn how LinkedIn’s sales navigator can integrate.</a:t>
            </a:r>
          </a:p>
        </p:txBody>
      </p:sp>
      <p:sp>
        <p:nvSpPr>
          <p:cNvPr id="4" name="Slide Number Placeholder 3"/>
          <p:cNvSpPr>
            <a:spLocks noGrp="1"/>
          </p:cNvSpPr>
          <p:nvPr>
            <p:ph type="sldNum" sz="quarter" idx="5"/>
          </p:nvPr>
        </p:nvSpPr>
        <p:spPr/>
        <p:txBody>
          <a:bodyPr/>
          <a:lstStyle/>
          <a:p>
            <a:fld id="{3D7B9D4F-5F19-438C-92E8-037C6AE8F87D}" type="slidenum">
              <a:rPr lang="en-US" smtClean="0"/>
              <a:t>10</a:t>
            </a:fld>
            <a:endParaRPr lang="en-US"/>
          </a:p>
        </p:txBody>
      </p:sp>
    </p:spTree>
    <p:extLst>
      <p:ext uri="{BB962C8B-B14F-4D97-AF65-F5344CB8AC3E}">
        <p14:creationId xmlns:p14="http://schemas.microsoft.com/office/powerpoint/2010/main" val="3015678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rPr>
              <a:t>HP’s 1,200 global employees are equipped with relationship selling tools from Dynamics 365 and LinkedIn Sales Navigator, and the results have been impressive. HP </a:t>
            </a:r>
            <a:r>
              <a:rPr lang="en-GB" sz="900" b="0" i="0" u="none" strike="noStrike" kern="1200" dirty="0">
                <a:solidFill>
                  <a:schemeClr val="tx1"/>
                </a:solidFill>
                <a:effectLst/>
                <a:latin typeface="Segoe UI Light" panose="020B0502040204020203" pitchFamily="34" charset="0"/>
                <a:ea typeface="+mn-ea"/>
                <a:cs typeface="Segoe UI Light" panose="020B0502040204020203" pitchFamily="34" charset="0"/>
              </a:rPr>
              <a:t>has since grown the contribution to its sales pipeline by 6,500% in four months. </a:t>
            </a:r>
          </a:p>
          <a:p>
            <a:endParaRPr lang="en-GB" sz="900" b="0" i="0" u="none" strike="noStrike"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rPr>
              <a:t>With its extensive vendor networks and large business-to-business customer base, HP knew there was a huge untapped opportunity to identify more stakeholders and decision-makers and nurture relationships. With Microsoft Relationship Sales, which combines Dynamics 365 Sales with LinkedIn Sales Navigator, HP sellers can access LinkedIn’s network of over 645 million professionals, unlocking new ways to digitally identify, connect to, and engage with customers. They can then save any suitable prospects they find, so the prospects’ LinkedIn profile, updates, and shares appear directly in Dynamics 365. This provides context for the salesperson to reach out at the right moment through LinkedIn InMail email, which is automatically logged in Dynamics 365 as an activity. After HP salespeople identify a prospect, they can also connect with them by using another key feature of LinkedIn Sales Navigator: </a:t>
            </a:r>
            <a:r>
              <a:rPr lang="en-US" sz="900" b="0" i="0" u="none" strike="noStrike" kern="1200" dirty="0" err="1">
                <a:solidFill>
                  <a:schemeClr val="tx1"/>
                </a:solidFill>
                <a:effectLst/>
                <a:latin typeface="Segoe UI Light" panose="020B0502040204020203" pitchFamily="34" charset="0"/>
                <a:ea typeface="+mn-ea"/>
                <a:cs typeface="Segoe UI Light" panose="020B0502040204020203" pitchFamily="34" charset="0"/>
              </a:rPr>
              <a:t>TeamLink</a:t>
            </a:r>
            <a:r>
              <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rPr>
              <a:t>. This reveals other people at HP who have a first-degree connection with the prospect and can provide a warm introduction to the prospect – a highly effective way to start a new business relationship. With Dynamics 365 and LinkedIn Sales Navigator, HP has made fast and impressive progress in relationship selling and achieved measurable business results. </a:t>
            </a:r>
          </a:p>
          <a:p>
            <a:endPar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rPr>
              <a:t>https://customers.microsoft.com/en-us/story/738213-hp-manufacturing-united-states-dynamics365-sales</a:t>
            </a:r>
          </a:p>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9D94F05-9B80-47A2-8DE1-8B8D9CE8625B}" type="slidenum">
              <a:rPr lang="en-US" smtClean="0"/>
              <a:t>12</a:t>
            </a:fld>
            <a:endParaRPr lang="en-US"/>
          </a:p>
        </p:txBody>
      </p:sp>
    </p:spTree>
    <p:extLst>
      <p:ext uri="{BB962C8B-B14F-4D97-AF65-F5344CB8AC3E}">
        <p14:creationId xmlns:p14="http://schemas.microsoft.com/office/powerpoint/2010/main" val="1860704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rPr>
              <a:t>Selling smarter with Dynamics 365 has boosted sales by 70% for premier yacht brokerage Northrop &amp; Johnson. The insights from Dynamics 365 help salespeople deliver more personalized engagement, by revealing customer needs and expectations. For example, sales teams are more relevant and responsive in their digital communications because they know exactly when and how customers interact with their emails. For a company that’s selling luxury products, they need to deliver an exceptional experience that’s highly personalized. With the right insights, like email engagement insights, Northrop &amp; Johnson exceeds customer expectations. </a:t>
            </a:r>
          </a:p>
          <a:p>
            <a:endPar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rPr>
              <a:t>https://customers.microsoft.com/en-us/story/724212-northrop-johnson-retailers-dynamics-365</a:t>
            </a:r>
          </a:p>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9D94F05-9B80-47A2-8DE1-8B8D9CE8625B}" type="slidenum">
              <a:rPr lang="en-US" smtClean="0"/>
              <a:t>13</a:t>
            </a:fld>
            <a:endParaRPr lang="en-US"/>
          </a:p>
        </p:txBody>
      </p:sp>
    </p:spTree>
    <p:extLst>
      <p:ext uri="{BB962C8B-B14F-4D97-AF65-F5344CB8AC3E}">
        <p14:creationId xmlns:p14="http://schemas.microsoft.com/office/powerpoint/2010/main" val="20857492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rPr>
              <a:t>Lexmark enhances virtual teamwork with modern collaboration tools like Microsoft Teams. Previously, it was difficult and time-consuming for sales team to collaborate with other functions like marketing, training, supply chain, and legal professionals. Today, collaboration across functions is efficient and seamless, even across functions, geographies, and complex matrix structures. The ease of collaboration has made Lexmark’s sales teams more productive and agile in today’s fast-paced environment. </a:t>
            </a:r>
          </a:p>
          <a:p>
            <a:endParaRPr lang="en-US" sz="900" b="0" i="0" u="none" strike="noStrike"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dirty="0">
                <a:latin typeface="Segoe UI Light" panose="020B0502040204020203" pitchFamily="34" charset="0"/>
                <a:cs typeface="Segoe UI Light" panose="020B0502040204020203" pitchFamily="34" charset="0"/>
              </a:rPr>
              <a:t>https://customers.microsoft.com/en-us/story/735150-lexmark-international-unitedstates-professional-services-microsoft365</a:t>
            </a:r>
          </a:p>
          <a:p>
            <a:endParaRPr lang="en-US" dirty="0"/>
          </a:p>
          <a:p>
            <a:endParaRPr lang="en-US" dirty="0"/>
          </a:p>
        </p:txBody>
      </p:sp>
      <p:sp>
        <p:nvSpPr>
          <p:cNvPr id="4" name="Slide Number Placeholder 3"/>
          <p:cNvSpPr>
            <a:spLocks noGrp="1"/>
          </p:cNvSpPr>
          <p:nvPr>
            <p:ph type="sldNum" sz="quarter" idx="5"/>
          </p:nvPr>
        </p:nvSpPr>
        <p:spPr/>
        <p:txBody>
          <a:bodyPr/>
          <a:lstStyle/>
          <a:p>
            <a:fld id="{49D94F05-9B80-47A2-8DE1-8B8D9CE8625B}" type="slidenum">
              <a:rPr lang="en-US" smtClean="0"/>
              <a:t>14</a:t>
            </a:fld>
            <a:endParaRPr lang="en-US"/>
          </a:p>
        </p:txBody>
      </p:sp>
    </p:spTree>
    <p:extLst>
      <p:ext uri="{BB962C8B-B14F-4D97-AF65-F5344CB8AC3E}">
        <p14:creationId xmlns:p14="http://schemas.microsoft.com/office/powerpoint/2010/main" val="34515626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a:solidFill>
                  <a:schemeClr val="tx1"/>
                </a:solidFill>
                <a:effectLst/>
                <a:latin typeface="Segoe UI Light" panose="020B0502040204020203" pitchFamily="34" charset="0"/>
                <a:ea typeface="+mn-ea"/>
                <a:cs typeface="Segoe UI Light" panose="020B0502040204020203" pitchFamily="34" charset="0"/>
              </a:rPr>
              <a:t>In December 2019, Lufthansa Cargo rolled out dynamics pricing with Dynamics 365. Although COVID-19 locked down the airline industry, it was an unexpected accelerator of the digital transformation of their CRM system. Passenger aircraft were grounded, but the freighter network was busy when Lufthansa released their new CRM for more than 1,000 Sales and Marketing teams across the globe.</a:t>
            </a:r>
            <a:r>
              <a:rPr lang="en-US" sz="900" b="0" i="0" u="none" strike="noStrike" kern="1200">
                <a:solidFill>
                  <a:schemeClr val="bg1"/>
                </a:solidFill>
                <a:effectLst/>
                <a:latin typeface="Segoe UI Light" panose="020B0502040204020203" pitchFamily="34" charset="0"/>
                <a:ea typeface="+mn-ea"/>
                <a:cs typeface="Segoe UI Light" panose="020B0502040204020203" pitchFamily="34" charset="0"/>
              </a:rPr>
              <a:t> </a:t>
            </a:r>
            <a:r>
              <a:rPr lang="en-US" sz="900">
                <a:solidFill>
                  <a:schemeClr val="bg1"/>
                </a:solidFill>
                <a:latin typeface="Segoe UI Light" panose="020B0502040204020203" pitchFamily="34" charset="0"/>
                <a:cs typeface="Segoe UI Light" panose="020B0502040204020203" pitchFamily="34" charset="0"/>
              </a:rPr>
              <a:t>With most commercial and headquarter teams working from home, Dynamics 365 became another important factor in keeping cargo operations up and running to provide urgent medical supplies across the globe and to maintain critical industry supply chains.</a:t>
            </a:r>
            <a:endParaRPr lang="en-US" sz="900" b="0" i="0" u="none" strike="noStrike" kern="1200">
              <a:solidFill>
                <a:schemeClr val="tx1"/>
              </a:solidFill>
              <a:effectLst/>
              <a:latin typeface="Segoe UI Light" panose="020B0502040204020203" pitchFamily="34" charset="0"/>
              <a:ea typeface="+mn-ea"/>
              <a:cs typeface="Segoe UI Light" panose="020B0502040204020203" pitchFamily="34" charset="0"/>
            </a:endParaRPr>
          </a:p>
        </p:txBody>
      </p:sp>
      <p:sp>
        <p:nvSpPr>
          <p:cNvPr id="4" name="Slide Number Placeholder 3"/>
          <p:cNvSpPr>
            <a:spLocks noGrp="1"/>
          </p:cNvSpPr>
          <p:nvPr>
            <p:ph type="sldNum" sz="quarter" idx="5"/>
          </p:nvPr>
        </p:nvSpPr>
        <p:spPr/>
        <p:txBody>
          <a:bodyPr/>
          <a:lstStyle/>
          <a:p>
            <a:fld id="{49D94F05-9B80-47A2-8DE1-8B8D9CE8625B}" type="slidenum">
              <a:rPr lang="en-US" smtClean="0"/>
              <a:t>15</a:t>
            </a:fld>
            <a:endParaRPr lang="en-US"/>
          </a:p>
        </p:txBody>
      </p:sp>
    </p:spTree>
    <p:extLst>
      <p:ext uri="{BB962C8B-B14F-4D97-AF65-F5344CB8AC3E}">
        <p14:creationId xmlns:p14="http://schemas.microsoft.com/office/powerpoint/2010/main" val="314990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latin typeface="Segoe UI Light" panose="020B0502040204020203" pitchFamily="34" charset="0"/>
                <a:cs typeface="Segoe UI Light" panose="020B0502040204020203" pitchFamily="34" charset="0"/>
              </a:rPr>
              <a:t>Microsoft has flipped the traditional sales model over the past few years, from inside sales teams supporting field sales teams to those inside teams now outnumbering their field counterparts. Today, more than 2500 digital sellers serve customers from eight sales centers around the world. As more customers move to digital buying, the volume of leads generated has grown exponentially. To keep up, Microsoft Digital Sales turned to Microsoft Dynamics 365 Sales and Sales Insights to scale to increased demand, engage customers remotely, and increase seller productivity.</a:t>
            </a:r>
          </a:p>
        </p:txBody>
      </p:sp>
      <p:sp>
        <p:nvSpPr>
          <p:cNvPr id="4" name="Slide Number Placeholder 3"/>
          <p:cNvSpPr>
            <a:spLocks noGrp="1"/>
          </p:cNvSpPr>
          <p:nvPr>
            <p:ph type="sldNum" sz="quarter" idx="5"/>
          </p:nvPr>
        </p:nvSpPr>
        <p:spPr/>
        <p:txBody>
          <a:bodyPr/>
          <a:lstStyle/>
          <a:p>
            <a:fld id="{49D94F05-9B80-47A2-8DE1-8B8D9CE8625B}" type="slidenum">
              <a:rPr lang="en-US" smtClean="0"/>
              <a:t>16</a:t>
            </a:fld>
            <a:endParaRPr lang="en-US"/>
          </a:p>
        </p:txBody>
      </p:sp>
    </p:spTree>
    <p:extLst>
      <p:ext uri="{BB962C8B-B14F-4D97-AF65-F5344CB8AC3E}">
        <p14:creationId xmlns:p14="http://schemas.microsoft.com/office/powerpoint/2010/main" val="2843949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900" dirty="0">
                <a:gradFill>
                  <a:gsLst>
                    <a:gs pos="0">
                      <a:srgbClr val="3C3C41"/>
                    </a:gs>
                    <a:gs pos="100000">
                      <a:srgbClr val="3C3C41"/>
                    </a:gs>
                  </a:gsLst>
                  <a:lin ang="5400000" scaled="1"/>
                </a:gradFill>
                <a:latin typeface="Segoe UI Light" panose="020B0502040204020203" pitchFamily="34" charset="0"/>
                <a:cs typeface="Segoe UI Light" panose="020B0502040204020203" pitchFamily="34" charset="0"/>
              </a:rPr>
              <a:t>Ecolab, the global leader in water, hygiene, and energy technologies and services, sells some of the most advanced solutions on the planet. As a result, the sales cycle is complex and long – sometimes as long as 18 months. </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900" dirty="0">
                <a:gradFill>
                  <a:gsLst>
                    <a:gs pos="0">
                      <a:srgbClr val="3C3C41"/>
                    </a:gs>
                    <a:gs pos="100000">
                      <a:srgbClr val="3C3C41"/>
                    </a:gs>
                  </a:gsLst>
                  <a:lin ang="5400000" scaled="1"/>
                </a:gradFill>
                <a:latin typeface="Segoe UI Light" panose="020B0502040204020203" pitchFamily="34" charset="0"/>
                <a:cs typeface="Segoe UI Light" panose="020B0502040204020203" pitchFamily="34" charset="0"/>
              </a:rPr>
              <a:t>Dynamics 365 shortens the sales cycle by delivering a tangible, compelling vision. Sellers can do away with the static brochures and instead bring the equipment into the real life using mixed reality integrated with the sales solut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900" dirty="0">
                <a:gradFill>
                  <a:gsLst>
                    <a:gs pos="0">
                      <a:srgbClr val="3C3C41"/>
                    </a:gs>
                    <a:gs pos="100000">
                      <a:srgbClr val="3C3C41"/>
                    </a:gs>
                  </a:gsLst>
                  <a:lin ang="5400000" scaled="1"/>
                </a:gradFill>
                <a:latin typeface="Segoe UI Light" panose="020B0502040204020203" pitchFamily="34" charset="0"/>
                <a:cs typeface="Segoe UI Light" panose="020B0502040204020203" pitchFamily="34" charset="0"/>
              </a:rPr>
              <a:t>With Dynamics 365, Ecolab builds trust and closes deals faster with seamless solutions that uses mixed reality to showcase and customize products within the customers’ environments. </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49D94F05-9B80-47A2-8DE1-8B8D9CE862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540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0BBCD-D133-3944-8A2E-6260F71489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72151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a:extLst>
              <a:ext uri="{FF2B5EF4-FFF2-40B4-BE49-F238E27FC236}">
                <a16:creationId xmlns:a16="http://schemas.microsoft.com/office/drawing/2014/main" id="{0349123F-CF6E-4727-8253-9A460F33D4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a:extLst>
              <a:ext uri="{FF2B5EF4-FFF2-40B4-BE49-F238E27FC236}">
                <a16:creationId xmlns:a16="http://schemas.microsoft.com/office/drawing/2014/main" id="{FABE3759-8FAD-4345-B120-22FB862D71A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s://customers.microsoft.com/en-us/story/crane-worldwide-logistics-travel-transportation-relationship-sales</a:t>
            </a:r>
          </a:p>
        </p:txBody>
      </p:sp>
      <p:sp>
        <p:nvSpPr>
          <p:cNvPr id="6148" name="Slide Number Placeholder 3">
            <a:extLst>
              <a:ext uri="{FF2B5EF4-FFF2-40B4-BE49-F238E27FC236}">
                <a16:creationId xmlns:a16="http://schemas.microsoft.com/office/drawing/2014/main" id="{6CF842A1-D809-46E3-A610-04420CF46F7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CEF8FED-7A2F-4F95-AB88-BF3E7DABF3E7}"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a:extLst>
              <a:ext uri="{FF2B5EF4-FFF2-40B4-BE49-F238E27FC236}">
                <a16:creationId xmlns:a16="http://schemas.microsoft.com/office/drawing/2014/main" id="{1AE07EE8-835A-4D69-89EC-6110B57B6F5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a:extLst>
              <a:ext uri="{FF2B5EF4-FFF2-40B4-BE49-F238E27FC236}">
                <a16:creationId xmlns:a16="http://schemas.microsoft.com/office/drawing/2014/main" id="{E4A3BA79-4B07-452E-8A9F-723A52C7AAA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https://customers.microsoft.com/en-us/story/724212-northrop-johnson-retailers-dynamics-365</a:t>
            </a:r>
          </a:p>
        </p:txBody>
      </p:sp>
      <p:sp>
        <p:nvSpPr>
          <p:cNvPr id="6148" name="Slide Number Placeholder 3">
            <a:extLst>
              <a:ext uri="{FF2B5EF4-FFF2-40B4-BE49-F238E27FC236}">
                <a16:creationId xmlns:a16="http://schemas.microsoft.com/office/drawing/2014/main" id="{2583D98E-1ECD-4BCF-9297-D442110EBD3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9CA5B2-FCB8-46F0-9B6C-C8FFFCC316F0}"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Light" panose="020B0502040204020203" pitchFamily="34" charset="0"/>
                <a:cs typeface="Segoe UI Light" panose="020B0502040204020203" pitchFamily="34" charset="0"/>
              </a:rPr>
              <a:t>The customer journey has changed. Buyers spend more time researching independently before they engage with sellers, putting most sellers at a disadvantage. Today’s buying groups are more diverse, making the buying process more opaque and lengthy. At the same time, B2B buyers want a more B2C-like experience, a trend accelerated by millennials moving into the ranks of decision-makers. In their daily life as consumers, they are accustomed to fast, convenient, seamless experiences which carry over in the expectations as B2B buyers. And finally, the B2B journey is facing a sudden shift to almost 100% digital selling in the face of COVID-19. The sudden disruption is expected to rapidly accelerate the digital buying trend that already started before COVID-19.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2: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43296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D94F05-9B80-47A2-8DE1-8B8D9CE8625B}" type="slidenum">
              <a:rPr lang="en-US" smtClean="0"/>
              <a:t>21</a:t>
            </a:fld>
            <a:endParaRPr lang="en-US"/>
          </a:p>
        </p:txBody>
      </p:sp>
    </p:spTree>
    <p:extLst>
      <p:ext uri="{BB962C8B-B14F-4D97-AF65-F5344CB8AC3E}">
        <p14:creationId xmlns:p14="http://schemas.microsoft.com/office/powerpoint/2010/main" val="22917958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1C9C15-504F-4AC2-AD31-7003795B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6633A88-1C5F-4518-AA1B-421E2170885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122201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1C9C15-504F-4AC2-AD31-7003795B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6633A88-1C5F-4518-AA1B-421E2170885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023338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a:solidFill>
                  <a:schemeClr val="tx1"/>
                </a:solidFill>
                <a:effectLst/>
                <a:latin typeface="Segoe UI Light" panose="020B0502040204020203" pitchFamily="34" charset="0"/>
                <a:ea typeface="+mn-ea"/>
                <a:cs typeface="Segoe UI Light" panose="020B0502040204020203" pitchFamily="34" charset="0"/>
              </a:rPr>
              <a:t>Relationship selling with Microsoft and LinkedIn combines the power of Dynamics 365 Sales and LinkedIn Sales Navigator. There are 3 key capabilities of the solution:</a:t>
            </a:r>
          </a:p>
          <a:p>
            <a:r>
              <a:rPr lang="en-US" sz="1400" kern="1200">
                <a:solidFill>
                  <a:schemeClr val="tx1"/>
                </a:solidFill>
                <a:effectLst/>
                <a:latin typeface="Segoe UI Light" panose="020B0502040204020203" pitchFamily="34" charset="0"/>
                <a:ea typeface="+mn-ea"/>
                <a:cs typeface="Segoe UI Light" panose="020B0502040204020203" pitchFamily="34" charset="0"/>
              </a:rPr>
              <a:t> </a:t>
            </a:r>
          </a:p>
          <a:p>
            <a:pPr lvl="0"/>
            <a:r>
              <a:rPr lang="en-US" sz="1400" kern="1200">
                <a:solidFill>
                  <a:schemeClr val="tx1"/>
                </a:solidFill>
                <a:effectLst/>
                <a:latin typeface="Segoe UI Light" panose="020B0502040204020203" pitchFamily="34" charset="0"/>
                <a:ea typeface="+mn-ea"/>
                <a:cs typeface="Segoe UI Light" panose="020B0502040204020203" pitchFamily="34" charset="0"/>
              </a:rPr>
              <a:t>1) Find the right people</a:t>
            </a:r>
          </a:p>
          <a:p>
            <a:pPr lvl="0"/>
            <a:r>
              <a:rPr lang="en-US" sz="1400" kern="1200">
                <a:solidFill>
                  <a:schemeClr val="tx1"/>
                </a:solidFill>
                <a:effectLst/>
                <a:latin typeface="Segoe UI Light" panose="020B0502040204020203" pitchFamily="34" charset="0"/>
                <a:ea typeface="+mn-ea"/>
                <a:cs typeface="Segoe UI Light" panose="020B0502040204020203" pitchFamily="34" charset="0"/>
              </a:rPr>
              <a:t>2) Stay connected to your customers</a:t>
            </a:r>
          </a:p>
          <a:p>
            <a:pPr lvl="0"/>
            <a:r>
              <a:rPr lang="en-US" sz="1400" kern="1200">
                <a:solidFill>
                  <a:schemeClr val="tx1"/>
                </a:solidFill>
                <a:effectLst/>
                <a:latin typeface="Segoe UI Light" panose="020B0502040204020203" pitchFamily="34" charset="0"/>
                <a:ea typeface="+mn-ea"/>
                <a:cs typeface="Segoe UI Light" panose="020B0502040204020203" pitchFamily="34" charset="0"/>
              </a:rPr>
              <a:t>3) Reduce cost of selling</a:t>
            </a:r>
          </a:p>
          <a:p>
            <a:pPr marL="0" indent="0" defTabSz="914400">
              <a:lnSpc>
                <a:spcPct val="100000"/>
              </a:lnSpc>
              <a:spcAft>
                <a:spcPts val="0"/>
              </a:spcAft>
              <a:buFont typeface="Arial" panose="020B0604020202020204" pitchFamily="34" charset="0"/>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2783B-A151-4920-A2C7-12BF0B3883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9185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900" b="0" i="0" kern="1200" dirty="0">
                <a:solidFill>
                  <a:srgbClr val="000000"/>
                </a:solidFill>
                <a:effectLst/>
                <a:latin typeface="Segoe UI Light"/>
                <a:cs typeface="Segoe UI Light"/>
              </a:rPr>
              <a:t>Every good prospect is unbelievably valuable. </a:t>
            </a:r>
            <a:r>
              <a:rPr lang="en-US" sz="900" i="0" kern="1200" dirty="0">
                <a:solidFill>
                  <a:srgbClr val="000000"/>
                </a:solidFill>
                <a:effectLst/>
                <a:latin typeface="Segoe UI Light"/>
                <a:cs typeface="Segoe UI Light"/>
              </a:rPr>
              <a:t>All it takes is one </a:t>
            </a:r>
            <a:r>
              <a:rPr lang="en-US" sz="900" i="0" dirty="0">
                <a:solidFill>
                  <a:srgbClr val="000000"/>
                </a:solidFill>
                <a:latin typeface="Segoe UI Light"/>
                <a:cs typeface="Segoe UI Light"/>
              </a:rPr>
              <a:t>cold call or generic email to</a:t>
            </a:r>
            <a:r>
              <a:rPr lang="en-US" sz="900" i="0" kern="1200" dirty="0">
                <a:solidFill>
                  <a:srgbClr val="000000"/>
                </a:solidFill>
                <a:effectLst/>
                <a:latin typeface="Segoe UI Light"/>
                <a:cs typeface="Segoe UI Light"/>
              </a:rPr>
              <a:t> damage the relationship. Microsoft &amp; LinkedIn </a:t>
            </a:r>
            <a:r>
              <a:rPr lang="en-US" sz="900" i="0" dirty="0">
                <a:solidFill>
                  <a:srgbClr val="000000"/>
                </a:solidFill>
                <a:latin typeface="Segoe UI Light"/>
                <a:cs typeface="Segoe UI Light"/>
              </a:rPr>
              <a:t>help</a:t>
            </a:r>
            <a:r>
              <a:rPr lang="en-US" sz="900" i="0" kern="1200" dirty="0">
                <a:solidFill>
                  <a:srgbClr val="000000"/>
                </a:solidFill>
                <a:effectLst/>
                <a:latin typeface="Segoe UI Light"/>
                <a:cs typeface="Segoe UI Light"/>
              </a:rPr>
              <a:t> sellers find the right buyers</a:t>
            </a:r>
            <a:r>
              <a:rPr lang="en-US" sz="900" i="0" dirty="0">
                <a:solidFill>
                  <a:srgbClr val="000000"/>
                </a:solidFill>
                <a:latin typeface="Segoe UI Light"/>
                <a:cs typeface="Segoe UI Light"/>
              </a:rPr>
              <a:t> -</a:t>
            </a:r>
            <a:r>
              <a:rPr lang="en-US" sz="900" i="0" kern="1200" dirty="0">
                <a:solidFill>
                  <a:srgbClr val="000000"/>
                </a:solidFill>
                <a:effectLst/>
                <a:latin typeface="Segoe UI Light"/>
                <a:cs typeface="Segoe UI Light"/>
              </a:rPr>
              <a:t> first. </a:t>
            </a:r>
            <a:r>
              <a:rPr lang="en-US" sz="900" i="0" dirty="0">
                <a:solidFill>
                  <a:srgbClr val="000000"/>
                </a:solidFill>
                <a:latin typeface="Segoe UI Light"/>
                <a:cs typeface="Segoe UI Light"/>
              </a:rPr>
              <a:t>The</a:t>
            </a:r>
            <a:r>
              <a:rPr lang="en-US" sz="900" i="0" kern="1200" dirty="0">
                <a:solidFill>
                  <a:srgbClr val="000000"/>
                </a:solidFill>
                <a:effectLst/>
                <a:latin typeface="Segoe UI Light"/>
                <a:cs typeface="Segoe UI Light"/>
              </a:rPr>
              <a:t> </a:t>
            </a:r>
            <a:r>
              <a:rPr lang="en-US" sz="900" i="0" dirty="0">
                <a:solidFill>
                  <a:srgbClr val="000000"/>
                </a:solidFill>
                <a:latin typeface="Segoe UI Light"/>
                <a:cs typeface="Segoe UI Light"/>
              </a:rPr>
              <a:t>integrated solution</a:t>
            </a:r>
            <a:r>
              <a:rPr lang="en-US" sz="900" i="0" kern="1200" dirty="0">
                <a:solidFill>
                  <a:srgbClr val="000000"/>
                </a:solidFill>
                <a:effectLst/>
                <a:latin typeface="Segoe UI Light"/>
                <a:cs typeface="Segoe UI Light"/>
              </a:rPr>
              <a:t> streamlines selling by embedding LinkedIn profiles directly in Dynamics 365, so sellers get real-time, contextual insights as they build relationships. In addition, the integrated solution enables sellers to:</a:t>
            </a:r>
          </a:p>
          <a:p>
            <a:endParaRPr lang="en-US" sz="900" i="0" kern="1200" dirty="0">
              <a:solidFill>
                <a:srgbClr val="000000"/>
              </a:solidFill>
              <a:effectLst/>
              <a:latin typeface="Segoe UI Light" panose="020B0502040204020203" pitchFamily="34" charset="0"/>
              <a:ea typeface="+mn-ea"/>
              <a:cs typeface="Segoe UI Light" panose="020B0502040204020203" pitchFamily="34" charset="0"/>
            </a:endParaRPr>
          </a:p>
          <a:p>
            <a:pPr defTabSz="914400">
              <a:defRPr/>
            </a:pPr>
            <a:r>
              <a:rPr lang="en-US" sz="900" b="1" i="0" kern="1200" dirty="0">
                <a:solidFill>
                  <a:srgbClr val="000000"/>
                </a:solidFill>
                <a:effectLst/>
                <a:latin typeface="Segoe UI Light"/>
                <a:cs typeface="Segoe UI Light"/>
              </a:rPr>
              <a:t>Identify people most likely to buy </a:t>
            </a:r>
            <a:r>
              <a:rPr lang="en-US" sz="900" i="0" kern="1200" dirty="0">
                <a:solidFill>
                  <a:srgbClr val="000000"/>
                </a:solidFill>
                <a:effectLst/>
                <a:latin typeface="Segoe UI Light"/>
                <a:cs typeface="Segoe UI Light"/>
              </a:rPr>
              <a:t>– With over</a:t>
            </a:r>
            <a:r>
              <a:rPr lang="en-US" sz="900" b="0" i="0" kern="1200" dirty="0">
                <a:solidFill>
                  <a:srgbClr val="000000"/>
                </a:solidFill>
                <a:effectLst/>
                <a:latin typeface="Segoe UI Light"/>
                <a:cs typeface="Segoe UI Light"/>
              </a:rPr>
              <a:t> </a:t>
            </a:r>
            <a:r>
              <a:rPr lang="en-US" sz="900" b="0" i="0" kern="1200" dirty="0">
                <a:solidFill>
                  <a:srgbClr val="000000"/>
                </a:solidFill>
                <a:effectLst/>
                <a:highlight>
                  <a:srgbClr val="FFFF00"/>
                </a:highlight>
                <a:latin typeface="Segoe UI Light"/>
                <a:cs typeface="Segoe UI Light"/>
              </a:rPr>
              <a:t>690</a:t>
            </a:r>
            <a:r>
              <a:rPr lang="en-US" sz="900" b="0" i="0" kern="1200" dirty="0">
                <a:solidFill>
                  <a:srgbClr val="000000"/>
                </a:solidFill>
                <a:effectLst/>
                <a:latin typeface="Segoe UI Light"/>
                <a:cs typeface="Segoe UI Light"/>
              </a:rPr>
              <a:t> </a:t>
            </a:r>
            <a:r>
              <a:rPr lang="en-US" sz="900" i="0" kern="1200" dirty="0">
                <a:solidFill>
                  <a:srgbClr val="000000"/>
                </a:solidFill>
                <a:effectLst/>
                <a:latin typeface="Segoe UI Light"/>
                <a:cs typeface="Segoe UI Light"/>
              </a:rPr>
              <a:t>million professionals on LinkedIn, sellers can easily find ready buyers with Sales Navigator’s advanced search filters and save the contact record from Sales Navigator directly to Dynamics 365. Once a contact is saved to Dynamics 365, sellers can manage and track the contact through </a:t>
            </a:r>
            <a:r>
              <a:rPr lang="en-US" sz="900" i="0" u="none" kern="1200" dirty="0">
                <a:solidFill>
                  <a:srgbClr val="000000"/>
                </a:solidFill>
                <a:effectLst/>
                <a:latin typeface="Segoe UI Light"/>
                <a:cs typeface="Segoe UI Light"/>
              </a:rPr>
              <a:t>best practices digital sales workflows, including predictive scoring that helps sellers prioritize the </a:t>
            </a:r>
            <a:r>
              <a:rPr lang="en-US" sz="900" i="0" dirty="0">
                <a:solidFill>
                  <a:srgbClr val="000000"/>
                </a:solidFill>
                <a:latin typeface="Segoe UI Light"/>
                <a:cs typeface="Segoe UI Light"/>
              </a:rPr>
              <a:t>people </a:t>
            </a:r>
            <a:r>
              <a:rPr lang="en-US" sz="900" i="0" u="none" kern="1200" dirty="0">
                <a:solidFill>
                  <a:srgbClr val="000000"/>
                </a:solidFill>
                <a:effectLst/>
                <a:latin typeface="Segoe UI Light"/>
                <a:cs typeface="Segoe UI Light"/>
              </a:rPr>
              <a:t>most likely to buy.</a:t>
            </a:r>
            <a:r>
              <a:rPr lang="en-US" sz="900" i="0" dirty="0">
                <a:solidFill>
                  <a:srgbClr val="000000"/>
                </a:solidFill>
                <a:latin typeface="Segoe UI Light"/>
                <a:cs typeface="Segoe UI Light"/>
              </a:rPr>
              <a:t> </a:t>
            </a:r>
          </a:p>
          <a:p>
            <a:pPr defTabSz="914400">
              <a:defRPr/>
            </a:pPr>
            <a:endParaRPr lang="en-US" sz="900" i="0" dirty="0">
              <a:solidFill>
                <a:srgbClr val="000000"/>
              </a:solidFill>
              <a:latin typeface="Segoe UI Light" panose="020B0502040204020203" pitchFamily="34" charset="0"/>
              <a:cs typeface="Segoe UI Light" panose="020B0502040204020203" pitchFamily="34" charset="0"/>
            </a:endParaRPr>
          </a:p>
          <a:p>
            <a:pPr defTabSz="914400">
              <a:defRPr/>
            </a:pPr>
            <a:r>
              <a:rPr lang="en-US" sz="900" b="1" i="0" kern="1200" dirty="0">
                <a:solidFill>
                  <a:srgbClr val="000000"/>
                </a:solidFill>
                <a:effectLst/>
                <a:latin typeface="Segoe UI Light"/>
                <a:cs typeface="Segoe UI Light"/>
              </a:rPr>
              <a:t>Find every member of the buying committee </a:t>
            </a:r>
            <a:r>
              <a:rPr lang="en-US" sz="900" i="0" kern="1200" dirty="0">
                <a:solidFill>
                  <a:srgbClr val="000000"/>
                </a:solidFill>
                <a:effectLst/>
                <a:latin typeface="Segoe UI Light"/>
                <a:cs typeface="Segoe UI Light"/>
              </a:rPr>
              <a:t>– when sellers don’t identify all the members of the buying committee, they put the deal at risk. 20% of buyers change roles per year, which means that even if sellers find the right people at the beginning of</a:t>
            </a:r>
            <a:r>
              <a:rPr lang="en-US" sz="900" i="0" dirty="0">
                <a:solidFill>
                  <a:srgbClr val="000000"/>
                </a:solidFill>
                <a:latin typeface="Segoe UI Light"/>
                <a:cs typeface="Segoe UI Light"/>
              </a:rPr>
              <a:t> the </a:t>
            </a:r>
            <a:r>
              <a:rPr lang="en-US" sz="900" i="0" kern="1200" dirty="0">
                <a:solidFill>
                  <a:srgbClr val="000000"/>
                </a:solidFill>
                <a:effectLst/>
                <a:latin typeface="Segoe UI Light"/>
                <a:cs typeface="Segoe UI Light"/>
              </a:rPr>
              <a:t>sales cycle, several of those people could rotate out before the deal is signed, putting your deal at risk. Sales Navigator allows sellers to identify additional members of the buying committee with recommended decision makers, alerts on lead job changes, and data on who has been engaging with your outreach. Directly in </a:t>
            </a:r>
            <a:r>
              <a:rPr lang="en-US" sz="900" i="0" dirty="0">
                <a:solidFill>
                  <a:srgbClr val="000000"/>
                </a:solidFill>
                <a:latin typeface="Segoe UI Light"/>
                <a:cs typeface="Segoe UI Light"/>
              </a:rPr>
              <a:t>Dynamics 365</a:t>
            </a:r>
            <a:r>
              <a:rPr lang="en-US" sz="900" i="0" kern="1200" dirty="0">
                <a:solidFill>
                  <a:srgbClr val="000000"/>
                </a:solidFill>
                <a:effectLst/>
                <a:latin typeface="Segoe UI Light"/>
                <a:cs typeface="Segoe UI Light"/>
              </a:rPr>
              <a:t>, sellers can map out the buying committee and proactively build relationships with the 6.8 (average) members at scale. </a:t>
            </a:r>
            <a:br>
              <a:rPr lang="en-US" sz="900" i="0" kern="1200" dirty="0">
                <a:solidFill>
                  <a:srgbClr val="000000"/>
                </a:solidFill>
                <a:effectLst/>
                <a:latin typeface="Segoe UI Light"/>
                <a:cs typeface="Segoe UI Light"/>
              </a:rPr>
            </a:br>
            <a:endParaRPr lang="en-US" sz="900" i="0" kern="1200" dirty="0">
              <a:solidFill>
                <a:srgbClr val="000000"/>
              </a:solidFill>
              <a:effectLst/>
              <a:latin typeface="Segoe UI Light" panose="020B0502040204020203" pitchFamily="34" charset="0"/>
              <a:ea typeface="+mn-ea"/>
              <a:cs typeface="Segoe UI Light" panose="020B0502040204020203" pitchFamily="34" charset="0"/>
            </a:endParaRPr>
          </a:p>
          <a:p>
            <a:pPr defTabSz="914400">
              <a:defRPr/>
            </a:pPr>
            <a:r>
              <a:rPr lang="en-US" sz="900" b="1" i="0" kern="1200" dirty="0">
                <a:solidFill>
                  <a:srgbClr val="000000"/>
                </a:solidFill>
                <a:effectLst/>
                <a:latin typeface="Segoe UI Light"/>
                <a:cs typeface="Segoe UI Light"/>
              </a:rPr>
              <a:t>Discover the best path to reach each buyer </a:t>
            </a:r>
            <a:r>
              <a:rPr lang="en-US" sz="900" i="0" kern="1200" dirty="0">
                <a:solidFill>
                  <a:srgbClr val="000000"/>
                </a:solidFill>
                <a:effectLst/>
                <a:latin typeface="Segoe UI Light"/>
                <a:cs typeface="Segoe UI Light"/>
              </a:rPr>
              <a:t>– buyers are already inundated with cold calls and generic emails. MRS helps sellers get their foot in the door and make a strong first impression. Existing relationships at your company (Sales Navigator </a:t>
            </a:r>
            <a:r>
              <a:rPr lang="en-US" sz="900" i="0" kern="1200" dirty="0" err="1">
                <a:solidFill>
                  <a:srgbClr val="000000"/>
                </a:solidFill>
                <a:effectLst/>
                <a:latin typeface="Segoe UI Light"/>
                <a:cs typeface="Segoe UI Light"/>
              </a:rPr>
              <a:t>TeamLink</a:t>
            </a:r>
            <a:r>
              <a:rPr lang="en-US" sz="900" i="0" kern="1200" dirty="0">
                <a:solidFill>
                  <a:srgbClr val="000000"/>
                </a:solidFill>
                <a:effectLst/>
                <a:latin typeface="Segoe UI Light"/>
                <a:cs typeface="Segoe UI Light"/>
              </a:rPr>
              <a:t>) can provide a warm introduction and knowledge to open doors and accelerate deals, as well as help sellers avoid pitfalls, </a:t>
            </a:r>
            <a:r>
              <a:rPr lang="en-US" sz="900" i="0" u="none" kern="1200" dirty="0">
                <a:solidFill>
                  <a:srgbClr val="000000"/>
                </a:solidFill>
                <a:effectLst/>
                <a:latin typeface="Segoe UI Light"/>
                <a:cs typeface="Segoe UI Light"/>
              </a:rPr>
              <a:t>all from a unified experience within Dynamics 365 that includes embedded </a:t>
            </a:r>
            <a:r>
              <a:rPr lang="en-US" sz="900" i="0" u="none" kern="1200" dirty="0" err="1">
                <a:solidFill>
                  <a:srgbClr val="000000"/>
                </a:solidFill>
                <a:effectLst/>
                <a:latin typeface="Segoe UI Light"/>
                <a:cs typeface="Segoe UI Light"/>
              </a:rPr>
              <a:t>TeamLink</a:t>
            </a:r>
            <a:r>
              <a:rPr lang="en-US" sz="900" i="0" u="none" kern="1200" dirty="0">
                <a:solidFill>
                  <a:srgbClr val="000000"/>
                </a:solidFill>
                <a:effectLst/>
                <a:latin typeface="Segoe UI Light"/>
                <a:cs typeface="Segoe UI Light"/>
              </a:rPr>
              <a:t> insights.</a:t>
            </a:r>
            <a:r>
              <a:rPr lang="en-US" sz="900" i="0" u="none" dirty="0">
                <a:solidFill>
                  <a:srgbClr val="000000"/>
                </a:solidFill>
                <a:latin typeface="Segoe UI Light"/>
                <a:cs typeface="Segoe UI Light"/>
              </a:rPr>
              <a:t> </a:t>
            </a:r>
            <a:endParaRPr lang="en-US" sz="900" i="0" u="none" dirty="0">
              <a:solidFill>
                <a:srgbClr val="000000"/>
              </a:solidFill>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78446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i="0" kern="1200" dirty="0">
                <a:solidFill>
                  <a:srgbClr val="000000"/>
                </a:solidFill>
                <a:effectLst/>
                <a:latin typeface="Segoe UI Light"/>
                <a:cs typeface="Segoe UI Light"/>
              </a:rPr>
              <a:t>We know that finding the right prospects is only half the battle. Staying connected to customers in a </a:t>
            </a:r>
            <a:r>
              <a:rPr lang="en-US" sz="900" i="0" dirty="0">
                <a:solidFill>
                  <a:srgbClr val="000000"/>
                </a:solidFill>
                <a:latin typeface="Segoe UI Light"/>
                <a:cs typeface="Segoe UI Light"/>
              </a:rPr>
              <a:t>distraction-filled</a:t>
            </a:r>
            <a:r>
              <a:rPr lang="en-US" sz="900" i="0" kern="1200" dirty="0">
                <a:solidFill>
                  <a:srgbClr val="000000"/>
                </a:solidFill>
                <a:effectLst/>
                <a:latin typeface="Segoe UI Light"/>
                <a:cs typeface="Segoe UI Light"/>
              </a:rPr>
              <a:t>, digital world is the</a:t>
            </a:r>
            <a:r>
              <a:rPr lang="en-US" sz="900" i="0" dirty="0">
                <a:solidFill>
                  <a:srgbClr val="000000"/>
                </a:solidFill>
                <a:latin typeface="Segoe UI Light"/>
                <a:cs typeface="Segoe UI Light"/>
              </a:rPr>
              <a:t> other</a:t>
            </a:r>
            <a:r>
              <a:rPr lang="en-US" sz="900" i="0" kern="1200" dirty="0">
                <a:solidFill>
                  <a:srgbClr val="000000"/>
                </a:solidFill>
                <a:effectLst/>
                <a:latin typeface="Segoe UI Light"/>
                <a:cs typeface="Segoe UI Light"/>
              </a:rPr>
              <a:t> half. Sales Navigator works behind the scenes to deliver ongoing, relevant insights so sellers can better understand customers and their business. Sellers can learn what customers care about and key events or changes that affect the relationship and deal. But if sellers have to constantly switch between their everyday sales tool like Dynamics 365 and Sales Navigator to get the relationship insights and manually stitch together information, both their effectiveness and productivity suffer. With MRS, insights from Sales Navigator are embedded in Dynamics 365, so sellers can stay connected to customers from a single unified experience.</a:t>
            </a:r>
            <a:r>
              <a:rPr lang="en-US" sz="900" i="0" dirty="0">
                <a:solidFill>
                  <a:srgbClr val="000000"/>
                </a:solidFill>
                <a:latin typeface="Segoe UI Light"/>
                <a:cs typeface="Segoe UI Light"/>
              </a:rPr>
              <a:t> </a:t>
            </a:r>
            <a:endParaRPr lang="en-US" sz="900" i="0" kern="1200" dirty="0">
              <a:solidFill>
                <a:srgbClr val="000000"/>
              </a:solidFill>
              <a:effectLst/>
              <a:latin typeface="Segoe UI Light" panose="020B0502040204020203" pitchFamily="34" charset="0"/>
              <a:cs typeface="Segoe UI Light" panose="020B0502040204020203" pitchFamily="34" charset="0"/>
            </a:endParaRPr>
          </a:p>
          <a:p>
            <a:endParaRPr lang="en-US" sz="900" i="0" kern="1200" dirty="0">
              <a:solidFill>
                <a:srgbClr val="000000"/>
              </a:solidFill>
              <a:effectLst/>
              <a:latin typeface="Segoe UI Light" panose="020B0502040204020203" pitchFamily="34" charset="0"/>
              <a:cs typeface="Segoe UI Light" panose="020B0502040204020203" pitchFamily="34" charset="0"/>
            </a:endParaRPr>
          </a:p>
          <a:p>
            <a:pPr>
              <a:defRPr/>
            </a:pPr>
            <a:r>
              <a:rPr lang="en-US" sz="900" b="1" i="0" kern="1200" dirty="0">
                <a:solidFill>
                  <a:srgbClr val="000000"/>
                </a:solidFill>
                <a:effectLst/>
                <a:latin typeface="Segoe UI Light"/>
                <a:cs typeface="Segoe UI Light"/>
              </a:rPr>
              <a:t>Take the next best action </a:t>
            </a:r>
            <a:r>
              <a:rPr lang="en-US" sz="900" i="0" kern="1200" dirty="0">
                <a:solidFill>
                  <a:srgbClr val="000000"/>
                </a:solidFill>
                <a:effectLst/>
                <a:latin typeface="Segoe UI Light"/>
                <a:cs typeface="Segoe UI Light"/>
              </a:rPr>
              <a:t>– Take the guesswork out of building strong relationships by receiving timely insights on the most important actions sellers need to take to move the relationship forward. For example, sellers in Dynamics 365 find out when contacts move companies or when customers open presentations sent via Smart Links. Sellers can also send </a:t>
            </a:r>
            <a:r>
              <a:rPr lang="en-US" sz="900" i="0" kern="1200" dirty="0" err="1">
                <a:solidFill>
                  <a:srgbClr val="000000"/>
                </a:solidFill>
                <a:effectLst/>
                <a:latin typeface="Segoe UI Light"/>
                <a:cs typeface="Segoe UI Light"/>
              </a:rPr>
              <a:t>InMails</a:t>
            </a:r>
            <a:r>
              <a:rPr lang="en-US" sz="900" i="0" kern="1200" dirty="0">
                <a:solidFill>
                  <a:srgbClr val="000000"/>
                </a:solidFill>
                <a:effectLst/>
                <a:latin typeface="Segoe UI Light"/>
                <a:cs typeface="Segoe UI Light"/>
              </a:rPr>
              <a:t> directly from Dynamics 365 to start meaningful conversations with customers through the trusted LinkedIn network. The integrated solution helps sellers engage throughout the customer journey in a meaningful way.</a:t>
            </a:r>
            <a:r>
              <a:rPr lang="en-US" sz="900" dirty="0">
                <a:solidFill>
                  <a:srgbClr val="000000"/>
                </a:solidFill>
                <a:latin typeface="Segoe UI Light"/>
                <a:cs typeface="Segoe UI Light"/>
              </a:rPr>
              <a:t> </a:t>
            </a:r>
            <a:endParaRPr lang="en-US" sz="900" i="0" kern="1200" dirty="0">
              <a:solidFill>
                <a:srgbClr val="000000"/>
              </a:solidFill>
              <a:effectLst/>
              <a:latin typeface="Segoe UI Light"/>
              <a:cs typeface="Segoe UI Light"/>
            </a:endParaRPr>
          </a:p>
          <a:p>
            <a:endParaRPr lang="en-US" sz="900" kern="1200" dirty="0">
              <a:solidFill>
                <a:srgbClr val="000000"/>
              </a:solidFill>
              <a:effectLst/>
              <a:latin typeface="Segoe UI Light" panose="020B0502040204020203" pitchFamily="34" charset="0"/>
              <a:cs typeface="Segoe UI Light" panose="020B0502040204020203" pitchFamily="34" charset="0"/>
            </a:endParaRPr>
          </a:p>
          <a:p>
            <a:pPr>
              <a:defRPr/>
            </a:pPr>
            <a:r>
              <a:rPr lang="en-US" sz="900" b="1" kern="1200" dirty="0">
                <a:solidFill>
                  <a:srgbClr val="000000"/>
                </a:solidFill>
                <a:effectLst/>
                <a:latin typeface="Segoe UI Light"/>
                <a:cs typeface="Segoe UI Light"/>
              </a:rPr>
              <a:t>Keep track of customers and their needs </a:t>
            </a:r>
            <a:r>
              <a:rPr lang="en-US" sz="900" kern="1200" dirty="0">
                <a:solidFill>
                  <a:srgbClr val="000000"/>
                </a:solidFill>
                <a:effectLst/>
                <a:latin typeface="Segoe UI Light"/>
                <a:cs typeface="Segoe UI Light"/>
              </a:rPr>
              <a:t>– </a:t>
            </a:r>
            <a:r>
              <a:rPr lang="en-US" sz="900" strike="noStrike" kern="1200" dirty="0">
                <a:solidFill>
                  <a:srgbClr val="000000"/>
                </a:solidFill>
                <a:effectLst/>
                <a:latin typeface="Segoe UI Light"/>
                <a:cs typeface="Segoe UI Light"/>
              </a:rPr>
              <a:t>S</a:t>
            </a:r>
            <a:r>
              <a:rPr lang="en-US" sz="900" kern="1200" dirty="0">
                <a:solidFill>
                  <a:srgbClr val="000000"/>
                </a:solidFill>
                <a:effectLst/>
                <a:latin typeface="Segoe UI Light"/>
                <a:cs typeface="Segoe UI Light"/>
              </a:rPr>
              <a:t>ellers need to be present, active, and trusted advisors and can’t forget that sales is more than a one-time interaction, but juggling </a:t>
            </a:r>
            <a:r>
              <a:rPr lang="en-US" sz="900" i="0" kern="1200" dirty="0">
                <a:solidFill>
                  <a:srgbClr val="000000"/>
                </a:solidFill>
                <a:effectLst/>
                <a:latin typeface="Segoe UI Light"/>
                <a:cs typeface="Segoe UI Light"/>
              </a:rPr>
              <a:t>multiple customers is </a:t>
            </a:r>
            <a:r>
              <a:rPr lang="en-US" sz="900" kern="1200" dirty="0">
                <a:solidFill>
                  <a:srgbClr val="000000"/>
                </a:solidFill>
                <a:effectLst/>
                <a:latin typeface="Segoe UI Light"/>
                <a:cs typeface="Segoe UI Light"/>
              </a:rPr>
              <a:t>challenging. </a:t>
            </a:r>
            <a:r>
              <a:rPr lang="en-US" sz="900" i="0" strike="noStrike" kern="1200" dirty="0">
                <a:solidFill>
                  <a:srgbClr val="000000"/>
                </a:solidFill>
                <a:effectLst/>
                <a:latin typeface="Segoe UI Light"/>
                <a:cs typeface="Segoe UI Light"/>
              </a:rPr>
              <a:t>The</a:t>
            </a:r>
            <a:r>
              <a:rPr lang="en-US" sz="900" kern="1200" dirty="0">
                <a:solidFill>
                  <a:srgbClr val="000000"/>
                </a:solidFill>
                <a:effectLst/>
                <a:latin typeface="Segoe UI Light"/>
                <a:cs typeface="Segoe UI Light"/>
              </a:rPr>
              <a:t> integrated solution helps sellers proactively monitor and track customer sentiment with relationship health, a comprehensive score that includes engagement signals from Dynamics 365, Office 365, and </a:t>
            </a:r>
            <a:r>
              <a:rPr lang="en-US" sz="900" dirty="0">
                <a:solidFill>
                  <a:srgbClr val="000000"/>
                </a:solidFill>
                <a:latin typeface="Segoe UI Light"/>
                <a:cs typeface="Segoe UI Light"/>
              </a:rPr>
              <a:t>Sales Navigator</a:t>
            </a:r>
            <a:r>
              <a:rPr lang="en-US" sz="900" kern="1200" dirty="0">
                <a:solidFill>
                  <a:srgbClr val="000000"/>
                </a:solidFill>
                <a:effectLst/>
                <a:latin typeface="Segoe UI Light"/>
                <a:cs typeface="Segoe UI Light"/>
              </a:rPr>
              <a:t>, to reveal which customers need attention.</a:t>
            </a:r>
            <a:r>
              <a:rPr lang="en-US" sz="900" dirty="0">
                <a:solidFill>
                  <a:srgbClr val="000000"/>
                </a:solidFill>
                <a:latin typeface="Segoe UI Light"/>
                <a:cs typeface="Segoe UI Light"/>
              </a:rPr>
              <a:t>  </a:t>
            </a:r>
            <a:endParaRPr lang="en-US" sz="900" kern="1200" dirty="0">
              <a:solidFill>
                <a:srgbClr val="000000"/>
              </a:solidFill>
              <a:effectLst/>
              <a:latin typeface="Segoe UI Light" panose="020B0502040204020203" pitchFamily="34" charset="0"/>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900" b="1" kern="1200" dirty="0">
              <a:solidFill>
                <a:srgbClr val="000000"/>
              </a:solidFill>
              <a:effectLst/>
              <a:latin typeface="Segoe UI Light" panose="020B0502040204020203" pitchFamily="34" charset="0"/>
              <a:cs typeface="Segoe UI Light" panose="020B0502040204020203" pitchFamily="34" charset="0"/>
            </a:endParaRPr>
          </a:p>
          <a:p>
            <a:pPr>
              <a:defRPr/>
            </a:pPr>
            <a:r>
              <a:rPr lang="en-US" sz="900" b="1" i="0" kern="1200" dirty="0">
                <a:solidFill>
                  <a:srgbClr val="000000"/>
                </a:solidFill>
                <a:effectLst/>
                <a:latin typeface="Segoe UI Light"/>
                <a:cs typeface="Segoe UI Light"/>
              </a:rPr>
              <a:t>Engage customers with personalized content </a:t>
            </a:r>
            <a:r>
              <a:rPr lang="en-US" sz="900" i="0" kern="1200" dirty="0">
                <a:solidFill>
                  <a:srgbClr val="000000"/>
                </a:solidFill>
                <a:effectLst/>
                <a:latin typeface="Segoe UI Light"/>
                <a:cs typeface="Segoe UI Light"/>
              </a:rPr>
              <a:t>- Package </a:t>
            </a:r>
            <a:r>
              <a:rPr lang="en-US" sz="900" i="0" dirty="0">
                <a:solidFill>
                  <a:srgbClr val="000000"/>
                </a:solidFill>
                <a:latin typeface="Segoe UI Light"/>
                <a:cs typeface="Segoe UI Light"/>
              </a:rPr>
              <a:t>digital </a:t>
            </a:r>
            <a:r>
              <a:rPr lang="en-US" sz="900" i="0" kern="1200" dirty="0">
                <a:solidFill>
                  <a:srgbClr val="000000"/>
                </a:solidFill>
                <a:effectLst/>
                <a:latin typeface="Segoe UI Light"/>
                <a:cs typeface="Segoe UI Light"/>
              </a:rPr>
              <a:t>content in one organized view for buyers and share throughout the </a:t>
            </a:r>
            <a:r>
              <a:rPr lang="en-US" sz="900" i="0" dirty="0">
                <a:solidFill>
                  <a:srgbClr val="000000"/>
                </a:solidFill>
                <a:latin typeface="Segoe UI Light"/>
                <a:cs typeface="Segoe UI Light"/>
              </a:rPr>
              <a:t>buying journey with Sales Navigator Smart Links. Know what content customers are interested by tracking viewing behavior and </a:t>
            </a:r>
            <a:r>
              <a:rPr lang="en-US" sz="900" dirty="0">
                <a:solidFill>
                  <a:srgbClr val="000000"/>
                </a:solidFill>
                <a:latin typeface="Segoe UI Light"/>
                <a:cs typeface="Segoe UI Light"/>
              </a:rPr>
              <a:t>identify</a:t>
            </a:r>
            <a:r>
              <a:rPr lang="en-US" sz="900" i="0" dirty="0">
                <a:solidFill>
                  <a:srgbClr val="000000"/>
                </a:solidFill>
                <a:latin typeface="Segoe UI Light"/>
                <a:cs typeface="Segoe UI Light"/>
              </a:rPr>
              <a:t> other members of the buying committee when Smart Links are shared.</a:t>
            </a:r>
            <a:r>
              <a:rPr lang="en-US" sz="900" dirty="0">
                <a:solidFill>
                  <a:srgbClr val="000000"/>
                </a:solidFill>
                <a:latin typeface="Segoe UI Light"/>
                <a:cs typeface="Segoe UI Light"/>
              </a:rPr>
              <a:t>  </a:t>
            </a:r>
            <a:endParaRPr lang="en-US" sz="900" i="0" kern="1200" dirty="0">
              <a:solidFill>
                <a:srgbClr val="000000"/>
              </a:solidFill>
              <a:effectLst/>
              <a:latin typeface="Segoe UI Light" panose="020B0502040204020203" pitchFamily="34" charset="0"/>
              <a:cs typeface="Segoe UI Light" panose="020B0502040204020203" pitchFamily="34" charset="0"/>
            </a:endParaRPr>
          </a:p>
          <a:p>
            <a:r>
              <a:rPr lang="en-US" sz="1200" kern="1200" dirty="0">
                <a:solidFill>
                  <a:schemeClr val="tx1"/>
                </a:solidFill>
                <a:effectLst/>
                <a:latin typeface="+mn-lt"/>
                <a:ea typeface="+mn-ea"/>
                <a:cs typeface="+mn-cs"/>
              </a:rPr>
              <a:t> </a:t>
            </a:r>
            <a:endParaRPr lang="en-US" sz="1200" kern="1200" dirty="0">
              <a:solidFill>
                <a:schemeClr val="tx1"/>
              </a:solidFill>
              <a:effectLst/>
              <a:latin typeface="+mn-lt"/>
              <a:cs typeface="Calibri"/>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4860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i="0" dirty="0">
                <a:solidFill>
                  <a:srgbClr val="000000"/>
                </a:solidFill>
                <a:latin typeface="Segoe UI Light" panose="020B0502040204020203" pitchFamily="34" charset="0"/>
                <a:cs typeface="Segoe UI Light" panose="020B0502040204020203" pitchFamily="34" charset="0"/>
              </a:rPr>
              <a:t>Using Dynamics 365 CRM with Sales Navigator results in top-line growth:</a:t>
            </a: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34% increase in pipeline</a:t>
            </a: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35% increase in deal size</a:t>
            </a: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5% in win rates</a:t>
            </a:r>
          </a:p>
          <a:p>
            <a:endParaRPr lang="en-US" sz="900" i="0" dirty="0">
              <a:solidFill>
                <a:srgbClr val="000000"/>
              </a:solidFill>
              <a:latin typeface="Segoe UI Light" panose="020B0502040204020203" pitchFamily="34" charset="0"/>
              <a:cs typeface="Segoe UI Light" panose="020B0502040204020203" pitchFamily="34" charset="0"/>
            </a:endParaRPr>
          </a:p>
          <a:p>
            <a:r>
              <a:rPr lang="en-US" sz="900" i="0" dirty="0">
                <a:solidFill>
                  <a:srgbClr val="000000"/>
                </a:solidFill>
                <a:latin typeface="Segoe UI Light" panose="020B0502040204020203" pitchFamily="34" charset="0"/>
                <a:cs typeface="Segoe UI Light" panose="020B0502040204020203" pitchFamily="34" charset="0"/>
              </a:rPr>
              <a:t>The combined solution also reduces the cost of selling by increasing your sellers’ productivity and sales operating efficiency.     </a:t>
            </a:r>
          </a:p>
          <a:p>
            <a:endParaRPr lang="en-US" sz="900" i="0" dirty="0">
              <a:solidFill>
                <a:srgbClr val="000000"/>
              </a:solidFill>
              <a:latin typeface="Segoe UI Light" panose="020B0502040204020203" pitchFamily="34" charset="0"/>
              <a:cs typeface="Segoe UI Light" panose="020B0502040204020203" pitchFamily="34" charset="0"/>
            </a:endParaRPr>
          </a:p>
          <a:p>
            <a:r>
              <a:rPr lang="en-US" sz="900" b="1" i="0" dirty="0">
                <a:solidFill>
                  <a:srgbClr val="000000"/>
                </a:solidFill>
                <a:latin typeface="Segoe UI Light" panose="020B0502040204020203" pitchFamily="34" charset="0"/>
                <a:cs typeface="Segoe UI Light" panose="020B0502040204020203" pitchFamily="34" charset="0"/>
              </a:rPr>
              <a:t>Streamline selling</a:t>
            </a:r>
            <a:r>
              <a:rPr lang="en-US" sz="900" i="0" dirty="0">
                <a:solidFill>
                  <a:srgbClr val="000000"/>
                </a:solidFill>
                <a:latin typeface="Segoe UI Light" panose="020B0502040204020203" pitchFamily="34" charset="0"/>
                <a:cs typeface="Segoe UI Light" panose="020B0502040204020203" pitchFamily="34" charset="0"/>
              </a:rPr>
              <a:t> – On its own, Dynamics 365 is a powerful customer engagement platform that provides AI-guided selling while Sales Navigator is the leading relationship-based selling solution for connecting to the right people. When the solutions are integrated, data is brought together to create a comprehensive view of customer relationships. Combined with the built-in AI from Dynamics 365, sales organizations get the insights to not only engage better but also optimize/automate sales processes for greater efficiency. The combined solution also provides embedded LinkedIn Sales Navigator profiles and insights in Dynamics 365, resulting in one unified experience that saves time and helps sellers: </a:t>
            </a:r>
          </a:p>
          <a:p>
            <a:endParaRPr lang="en-US" sz="900" i="0" dirty="0">
              <a:solidFill>
                <a:srgbClr val="000000"/>
              </a:solidFill>
              <a:latin typeface="Segoe UI Light" panose="020B0502040204020203" pitchFamily="34" charset="0"/>
              <a:cs typeface="Segoe UI Light" panose="020B0502040204020203" pitchFamily="34" charset="0"/>
            </a:endParaRP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Gain LinkedIn Sales Navigator insights about companies and people by viewing headline information, recent activities, news, and job changes directly in Dynamics 365.</a:t>
            </a: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Get a clear view of an account’s organizational structure augmented with LinkedIn profiles</a:t>
            </a: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Personalize engagement by surfacing warm introductions through their network or colleagues, or use icebreakers to identify commonalities with prospects</a:t>
            </a: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Reduce busywork with one-click access to LinkedIn InMail and insights where you need them</a:t>
            </a:r>
          </a:p>
          <a:p>
            <a:endParaRPr lang="en-US" sz="900" i="0" dirty="0">
              <a:solidFill>
                <a:srgbClr val="000000"/>
              </a:solidFill>
              <a:latin typeface="Segoe UI Light" panose="020B0502040204020203" pitchFamily="34" charset="0"/>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900" b="1" i="0" dirty="0">
                <a:solidFill>
                  <a:srgbClr val="000000"/>
                </a:solidFill>
                <a:latin typeface="Segoe UI Light" panose="020B0502040204020203" pitchFamily="34" charset="0"/>
                <a:cs typeface="Segoe UI Light" panose="020B0502040204020203" pitchFamily="34" charset="0"/>
              </a:rPr>
              <a:t>Keep customer data accurate</a:t>
            </a:r>
            <a:r>
              <a:rPr lang="en-US" sz="900" i="0" dirty="0">
                <a:solidFill>
                  <a:srgbClr val="000000"/>
                </a:solidFill>
                <a:latin typeface="Segoe UI Light" panose="020B0502040204020203" pitchFamily="34" charset="0"/>
                <a:cs typeface="Segoe UI Light" panose="020B0502040204020203" pitchFamily="34" charset="0"/>
              </a:rPr>
              <a:t> – </a:t>
            </a:r>
            <a:r>
              <a:rPr lang="en-US" sz="900" b="0" i="0" u="none" strike="noStrike" kern="1200" dirty="0">
                <a:solidFill>
                  <a:srgbClr val="000000"/>
                </a:solidFill>
                <a:effectLst/>
                <a:latin typeface="Segoe UI Light" panose="020B0502040204020203" pitchFamily="34" charset="0"/>
                <a:ea typeface="+mn-ea"/>
                <a:cs typeface="Segoe UI Light" panose="020B0502040204020203" pitchFamily="34" charset="0"/>
              </a:rPr>
              <a:t>We know from LinkedIn data that 20% of decision makers change roles every year, so it’s hard to keep your CRM data up-to-date. As the largest professional network in the world with over 690 million professionals and 30 million companies, LinkedIn helps keep contact information accurate and up-to-date. </a:t>
            </a:r>
            <a:r>
              <a:rPr lang="en-US" sz="900" i="0" dirty="0">
                <a:solidFill>
                  <a:srgbClr val="000000"/>
                </a:solidFill>
                <a:latin typeface="Segoe UI Light" panose="020B0502040204020203" pitchFamily="34" charset="0"/>
                <a:cs typeface="Segoe UI Light" panose="020B0502040204020203" pitchFamily="34" charset="0"/>
              </a:rPr>
              <a:t>Sales Navigator Data Validation </a:t>
            </a:r>
            <a:r>
              <a:rPr lang="en-US" sz="900" i="0" strike="noStrike" dirty="0">
                <a:solidFill>
                  <a:srgbClr val="000000"/>
                </a:solidFill>
                <a:latin typeface="Segoe UI Light" panose="020B0502040204020203" pitchFamily="34" charset="0"/>
                <a:cs typeface="Segoe UI Light" panose="020B0502040204020203" pitchFamily="34" charset="0"/>
              </a:rPr>
              <a:t>is a set of capabilities that </a:t>
            </a:r>
            <a:r>
              <a:rPr lang="en-US" sz="900" i="0" dirty="0">
                <a:solidFill>
                  <a:srgbClr val="000000"/>
                </a:solidFill>
                <a:latin typeface="Segoe UI Light" panose="020B0502040204020203" pitchFamily="34" charset="0"/>
                <a:cs typeface="Segoe UI Light" panose="020B0502040204020203" pitchFamily="34" charset="0"/>
              </a:rPr>
              <a:t>validates information in Dynamics 365 against the information that’s in LinkedIn. For example, job changes detected from LinkedIn are flagged in Dynamics 365 as at-risk opportunities and in the live org chart, so sellers have accurate, real-time updates and can adjust engagements accordingly. </a:t>
            </a:r>
          </a:p>
          <a:p>
            <a:endParaRPr lang="en-US" sz="900" i="0" dirty="0">
              <a:solidFill>
                <a:srgbClr val="000000"/>
              </a:solidFill>
              <a:latin typeface="Segoe UI Light" panose="020B0502040204020203" pitchFamily="34" charset="0"/>
              <a:cs typeface="Segoe UI Light" panose="020B0502040204020203" pitchFamily="34" charset="0"/>
            </a:endParaRPr>
          </a:p>
          <a:p>
            <a:r>
              <a:rPr lang="en-US" sz="900" b="1" i="0" dirty="0">
                <a:solidFill>
                  <a:srgbClr val="000000"/>
                </a:solidFill>
                <a:latin typeface="Segoe UI Light" panose="020B0502040204020203" pitchFamily="34" charset="0"/>
                <a:cs typeface="Segoe UI Light" panose="020B0502040204020203" pitchFamily="34" charset="0"/>
              </a:rPr>
              <a:t>Gain full context with unified timeline </a:t>
            </a:r>
            <a:r>
              <a:rPr lang="en-US" sz="900" i="0" dirty="0">
                <a:solidFill>
                  <a:srgbClr val="000000"/>
                </a:solidFill>
                <a:latin typeface="Segoe UI Light" panose="020B0502040204020203" pitchFamily="34" charset="0"/>
                <a:cs typeface="Segoe UI Light" panose="020B0502040204020203" pitchFamily="34" charset="0"/>
              </a:rPr>
              <a:t>– With CRM Sync and Activity Write-back, sellers save time with automatic data synchronization between Dynamics 365 and Sales Navigator. Sellers can:</a:t>
            </a:r>
          </a:p>
          <a:p>
            <a:endParaRPr lang="en-US" sz="900" i="0" dirty="0">
              <a:solidFill>
                <a:srgbClr val="000000"/>
              </a:solidFill>
              <a:latin typeface="Segoe UI Light" panose="020B0502040204020203" pitchFamily="34" charset="0"/>
              <a:cs typeface="Segoe UI Light" panose="020B0502040204020203" pitchFamily="34" charset="0"/>
            </a:endParaRP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Seamlessly transition between Dynamics 365 and Sales Navigator through direct links on all matched lead and account records within Sales Navigator</a:t>
            </a: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Identify and connect with the right buyers by filtering Sales Navigator searches based on whether or not contacts and leads are in Dynamics 365</a:t>
            </a: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Keep track of key activities such as </a:t>
            </a:r>
            <a:r>
              <a:rPr lang="en-US" sz="900" i="0" dirty="0" err="1">
                <a:solidFill>
                  <a:srgbClr val="000000"/>
                </a:solidFill>
                <a:latin typeface="Segoe UI Light" panose="020B0502040204020203" pitchFamily="34" charset="0"/>
                <a:cs typeface="Segoe UI Light" panose="020B0502040204020203" pitchFamily="34" charset="0"/>
              </a:rPr>
              <a:t>InMails</a:t>
            </a:r>
            <a:r>
              <a:rPr lang="en-US" sz="900" i="0" dirty="0">
                <a:solidFill>
                  <a:srgbClr val="000000"/>
                </a:solidFill>
                <a:latin typeface="Segoe UI Light" panose="020B0502040204020203" pitchFamily="34" charset="0"/>
                <a:cs typeface="Segoe UI Light" panose="020B0502040204020203" pitchFamily="34" charset="0"/>
              </a:rPr>
              <a:t>, Messages, Notes, Calls, and Smart Links sent by automatically saving them back to Dynamics 365, where they drive accurate timelines, relationship health, and next best action recommendations. </a:t>
            </a:r>
          </a:p>
          <a:p>
            <a:pPr marL="285750" indent="-285750">
              <a:buFont typeface="Arial"/>
              <a:buChar char="•"/>
            </a:pPr>
            <a:r>
              <a:rPr lang="en-US" sz="900" i="0" dirty="0">
                <a:solidFill>
                  <a:srgbClr val="000000"/>
                </a:solidFill>
                <a:latin typeface="Segoe UI Light" panose="020B0502040204020203" pitchFamily="34" charset="0"/>
                <a:cs typeface="Segoe UI Light" panose="020B0502040204020203" pitchFamily="34" charset="0"/>
              </a:rPr>
              <a:t>Save time and effort by auto-importing matched contacts and accounts associated with open opportunities into Sales Navigator</a:t>
            </a:r>
          </a:p>
          <a:p>
            <a:endParaRPr lang="en-US" sz="900"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9/2020 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54822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7/29/2020 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9760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tool for the new reality. Activate Digital Selling enables you to…</a:t>
            </a:r>
          </a:p>
          <a:p>
            <a:pPr marL="0" indent="0">
              <a:buFont typeface="Arial" panose="020B0604020202020204" pitchFamily="34" charset="0"/>
              <a:buNone/>
            </a:pPr>
            <a:r>
              <a:rPr lang="en-US" dirty="0"/>
              <a:t>-Guide and collaborate with customers remotely</a:t>
            </a:r>
          </a:p>
          <a:p>
            <a:pPr marL="0" indent="0">
              <a:buFont typeface="Arial" panose="020B0604020202020204" pitchFamily="34" charset="0"/>
              <a:buNone/>
            </a:pPr>
            <a:r>
              <a:rPr lang="en-US" dirty="0"/>
              <a:t>-Understand your customers and strengthen relationships</a:t>
            </a:r>
          </a:p>
          <a:p>
            <a:pPr marL="0" indent="0">
              <a:buFont typeface="Arial" panose="020B0604020202020204" pitchFamily="34" charset="0"/>
              <a:buNone/>
            </a:pPr>
            <a:r>
              <a:rPr lang="en-US" dirty="0"/>
              <a:t>-Optimize processes to reduce costs</a:t>
            </a:r>
          </a:p>
          <a:p>
            <a:pPr marL="0" indent="0">
              <a:buFont typeface="Arial" panose="020B0604020202020204" pitchFamily="34" charset="0"/>
              <a:buNone/>
            </a:pPr>
            <a:r>
              <a:rPr lang="en-US" dirty="0"/>
              <a:t>-Help your teams adapt to rapidly changing environments</a:t>
            </a:r>
          </a:p>
        </p:txBody>
      </p:sp>
      <p:sp>
        <p:nvSpPr>
          <p:cNvPr id="4" name="Slide Number Placeholder 3"/>
          <p:cNvSpPr>
            <a:spLocks noGrp="1"/>
          </p:cNvSpPr>
          <p:nvPr>
            <p:ph type="sldNum" sz="quarter" idx="5"/>
          </p:nvPr>
        </p:nvSpPr>
        <p:spPr/>
        <p:txBody>
          <a:bodyPr/>
          <a:lstStyle/>
          <a:p>
            <a:fld id="{3D7B9D4F-5F19-438C-92E8-037C6AE8F87D}" type="slidenum">
              <a:rPr lang="en-US" smtClean="0"/>
              <a:t>3</a:t>
            </a:fld>
            <a:endParaRPr lang="en-US"/>
          </a:p>
        </p:txBody>
      </p:sp>
    </p:spTree>
    <p:extLst>
      <p:ext uri="{BB962C8B-B14F-4D97-AF65-F5344CB8AC3E}">
        <p14:creationId xmlns:p14="http://schemas.microsoft.com/office/powerpoint/2010/main" val="1107310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uide and collaborate with customers remotely to stay agile, virtual, and informed.</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Stay agile with </a:t>
            </a:r>
            <a:r>
              <a:rPr kumimoji="0" lang="en-US" sz="1200" b="1"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AI-prioritized activities/sequence</a:t>
            </a: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 and sales cadence that quickly adjust to reflect companies’ new guidelines to sell during this time</a:t>
            </a:r>
            <a:endParaRPr lang="en-US" dirty="0"/>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Bring your products to life with </a:t>
            </a:r>
            <a:r>
              <a:rPr kumimoji="0" lang="en-US" sz="1200" b="1"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virtual 3D demos </a:t>
            </a:r>
            <a:r>
              <a:rPr kumimoji="0" lang="en-US" sz="120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through D365 Product Visualize</a:t>
            </a:r>
            <a:endParaRPr kumimoji="0" lang="en-US" sz="1200" b="1"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endParaRP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dirty="0">
                <a:gradFill>
                  <a:gsLst>
                    <a:gs pos="0">
                      <a:srgbClr val="3C3C41"/>
                    </a:gs>
                    <a:gs pos="100000">
                      <a:srgbClr val="3C3C41"/>
                    </a:gs>
                  </a:gsLst>
                  <a:lin ang="5400000" scaled="0"/>
                </a:gradFill>
                <a:latin typeface="Segoe UI"/>
                <a:cs typeface="Segoe UI"/>
              </a:rPr>
              <a:t>Collaborate via videoconferencing </a:t>
            </a:r>
            <a:r>
              <a:rPr lang="en-US" sz="1200" dirty="0">
                <a:gradFill>
                  <a:gsLst>
                    <a:gs pos="0">
                      <a:srgbClr val="3C3C41"/>
                    </a:gs>
                    <a:gs pos="100000">
                      <a:srgbClr val="3C3C41"/>
                    </a:gs>
                  </a:gsLst>
                  <a:lin ang="5400000" scaled="0"/>
                </a:gradFill>
                <a:latin typeface="Segoe UI"/>
                <a:cs typeface="Segoe UI"/>
              </a:rPr>
              <a:t>with Microsoft Teams, and use LinkedIn to stay informed about decision-makers and stakeholders.</a:t>
            </a:r>
            <a:endPar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4</a:t>
            </a:fld>
            <a:endParaRPr lang="en-US"/>
          </a:p>
        </p:txBody>
      </p:sp>
    </p:spTree>
    <p:extLst>
      <p:ext uri="{BB962C8B-B14F-4D97-AF65-F5344CB8AC3E}">
        <p14:creationId xmlns:p14="http://schemas.microsoft.com/office/powerpoint/2010/main" val="1995302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and your customers &amp; strengthen relationships to enhance comprehension, prediction, and feedback.</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Gain </a:t>
            </a:r>
            <a:r>
              <a:rPr kumimoji="0" lang="en-US" sz="1200" b="1"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a comprehensive view of the customer </a:t>
            </a: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to understand relationship trends</a:t>
            </a:r>
          </a:p>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endParaRP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Predict near-term changes in demand and market, and track keywords to </a:t>
            </a:r>
            <a:r>
              <a:rPr kumimoji="0" lang="en-US" sz="1200" b="1"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detect competitive shifts</a:t>
            </a:r>
            <a:r>
              <a:rPr kumimoji="0" lang="en-US" sz="120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 in real-time</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dirty="0">
                <a:gradFill>
                  <a:gsLst>
                    <a:gs pos="0">
                      <a:srgbClr val="3C3C41"/>
                    </a:gs>
                    <a:gs pos="100000">
                      <a:srgbClr val="3C3C41"/>
                    </a:gs>
                  </a:gsLst>
                  <a:lin ang="5400000" scaled="0"/>
                </a:gradFill>
                <a:latin typeface="Segoe UI"/>
                <a:cs typeface="Segoe UI"/>
              </a:rPr>
              <a:t>Automatically gather </a:t>
            </a:r>
            <a:r>
              <a:rPr lang="en-US" sz="1200" b="1" dirty="0">
                <a:gradFill>
                  <a:gsLst>
                    <a:gs pos="0">
                      <a:srgbClr val="3C3C41"/>
                    </a:gs>
                    <a:gs pos="100000">
                      <a:srgbClr val="3C3C41"/>
                    </a:gs>
                  </a:gsLst>
                  <a:lin ang="5400000" scaled="0"/>
                </a:gradFill>
                <a:latin typeface="Segoe UI"/>
                <a:cs typeface="Segoe UI"/>
              </a:rPr>
              <a:t>feedback and sentiment directly from customers</a:t>
            </a:r>
            <a:r>
              <a:rPr lang="en-US" sz="1200" dirty="0">
                <a:gradFill>
                  <a:gsLst>
                    <a:gs pos="0">
                      <a:srgbClr val="3C3C41"/>
                    </a:gs>
                    <a:gs pos="100000">
                      <a:srgbClr val="3C3C41"/>
                    </a:gs>
                  </a:gsLst>
                  <a:lin ang="5400000" scaled="0"/>
                </a:gradFill>
                <a:latin typeface="Segoe UI"/>
                <a:cs typeface="Segoe UI"/>
              </a:rPr>
              <a:t> through survey and web review</a:t>
            </a:r>
            <a:endPar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5</a:t>
            </a:fld>
            <a:endParaRPr lang="en-US"/>
          </a:p>
        </p:txBody>
      </p:sp>
    </p:spTree>
    <p:extLst>
      <p:ext uri="{BB962C8B-B14F-4D97-AF65-F5344CB8AC3E}">
        <p14:creationId xmlns:p14="http://schemas.microsoft.com/office/powerpoint/2010/main" val="982209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Segoe UI Light" panose="020B0502040204020203" pitchFamily="34" charset="0"/>
                <a:ea typeface="+mn-ea"/>
                <a:cs typeface="Segoe UI Light" panose="020B0502040204020203" pitchFamily="34" charset="0"/>
              </a:rPr>
              <a:t>Optimize processes to reduce costs by unifying, automating, and protecting your data.</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Segoe UI Light" panose="020B0502040204020203" pitchFamily="34" charset="0"/>
              <a:ea typeface="+mn-ea"/>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Eliminate functional siloes and reduce costs with </a:t>
            </a:r>
            <a:r>
              <a:rPr kumimoji="0" lang="en-US" sz="1200" b="1"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unified sales and marketing data</a:t>
            </a: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 and connected business process to manage leaders across customer journey</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Segoe UI Light" panose="020B0502040204020203" pitchFamily="34" charset="0"/>
              <a:ea typeface="+mn-ea"/>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Automatically </a:t>
            </a:r>
            <a:r>
              <a:rPr kumimoji="0" lang="en-US" sz="1200" b="1"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route and escalate customer requests </a:t>
            </a: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to maintain responsiveness through Microsoft Power Automate</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Segoe UI Light" panose="020B0502040204020203" pitchFamily="34" charset="0"/>
              <a:ea typeface="+mn-ea"/>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dirty="0">
                <a:gradFill>
                  <a:gsLst>
                    <a:gs pos="0">
                      <a:srgbClr val="3C3C41"/>
                    </a:gs>
                    <a:gs pos="100000">
                      <a:srgbClr val="3C3C41"/>
                    </a:gs>
                  </a:gsLst>
                  <a:lin ang="5400000" scaled="0"/>
                </a:gradFill>
                <a:latin typeface="Segoe UI"/>
                <a:cs typeface="Segoe UI"/>
              </a:rPr>
              <a:t>Control risk by managing fraud </a:t>
            </a:r>
            <a:r>
              <a:rPr lang="en-US" sz="1200" dirty="0">
                <a:gradFill>
                  <a:gsLst>
                    <a:gs pos="0">
                      <a:srgbClr val="3C3C41"/>
                    </a:gs>
                    <a:gs pos="100000">
                      <a:srgbClr val="3C3C41"/>
                    </a:gs>
                  </a:gsLst>
                  <a:lin ang="5400000" scaled="0"/>
                </a:gradFill>
                <a:latin typeface="Segoe UI"/>
                <a:cs typeface="Segoe UI"/>
              </a:rPr>
              <a:t>and protect your digital revenue with Microsoft Fraud Protection</a:t>
            </a:r>
            <a:endPar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6</a:t>
            </a:fld>
            <a:endParaRPr lang="en-US"/>
          </a:p>
        </p:txBody>
      </p:sp>
    </p:spTree>
    <p:extLst>
      <p:ext uri="{BB962C8B-B14F-4D97-AF65-F5344CB8AC3E}">
        <p14:creationId xmlns:p14="http://schemas.microsoft.com/office/powerpoint/2010/main" val="96028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p your teams adapt to rapidly changing environments by being decisive, prepared, and interactive.</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Deliver </a:t>
            </a:r>
            <a:r>
              <a:rPr kumimoji="0" lang="en-US" sz="1200" b="1"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insight-driven coaching and decision making </a:t>
            </a:r>
            <a:r>
              <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rPr>
              <a:t>to help focus manager attention with Microsoft Power BI</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gradFill>
                  <a:gsLst>
                    <a:gs pos="0">
                      <a:srgbClr val="3C3C41"/>
                    </a:gs>
                    <a:gs pos="100000">
                      <a:srgbClr val="3C3C41"/>
                    </a:gs>
                  </a:gsLst>
                  <a:lin ang="5400000" scaled="0"/>
                </a:gradFill>
                <a:effectLst/>
                <a:uLnTx/>
                <a:uFillTx/>
                <a:latin typeface="Segoe UI"/>
                <a:ea typeface="+mn-ea"/>
                <a:cs typeface="Segoe UI"/>
              </a:rPr>
              <a:t>Identif</a:t>
            </a:r>
            <a:r>
              <a:rPr lang="en-US" sz="1200" dirty="0">
                <a:gradFill>
                  <a:gsLst>
                    <a:gs pos="0">
                      <a:srgbClr val="3C3C41"/>
                    </a:gs>
                    <a:gs pos="100000">
                      <a:srgbClr val="3C3C41"/>
                    </a:gs>
                  </a:gsLst>
                  <a:lin ang="5400000" scaled="0"/>
                </a:gradFill>
                <a:latin typeface="Segoe UI"/>
                <a:cs typeface="Segoe UI"/>
              </a:rPr>
              <a:t>y candidates </a:t>
            </a:r>
            <a:r>
              <a:rPr lang="en-US" sz="1200" b="1" dirty="0">
                <a:gradFill>
                  <a:gsLst>
                    <a:gs pos="0">
                      <a:srgbClr val="3C3C41"/>
                    </a:gs>
                    <a:gs pos="100000">
                      <a:srgbClr val="3C3C41"/>
                    </a:gs>
                  </a:gsLst>
                  <a:lin ang="5400000" scaled="0"/>
                </a:gradFill>
                <a:latin typeface="Segoe UI"/>
                <a:cs typeface="Segoe UI"/>
              </a:rPr>
              <a:t>and onboard sales resources</a:t>
            </a:r>
            <a:r>
              <a:rPr lang="en-US" sz="1200" dirty="0">
                <a:gradFill>
                  <a:gsLst>
                    <a:gs pos="0">
                      <a:srgbClr val="3C3C41"/>
                    </a:gs>
                    <a:gs pos="100000">
                      <a:srgbClr val="3C3C41"/>
                    </a:gs>
                  </a:gsLst>
                  <a:lin ang="5400000" scaled="0"/>
                </a:gradFill>
                <a:latin typeface="Segoe UI"/>
                <a:cs typeface="Segoe UI"/>
              </a:rPr>
              <a:t> to handle surges in demand</a:t>
            </a:r>
            <a:endParaRPr kumimoji="0" lang="en-US" sz="12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endParaRP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dirty="0">
                <a:gradFill>
                  <a:gsLst>
                    <a:gs pos="0">
                      <a:srgbClr val="3C3C41"/>
                    </a:gs>
                    <a:gs pos="100000">
                      <a:srgbClr val="3C3C41"/>
                    </a:gs>
                  </a:gsLst>
                  <a:lin ang="5400000" scaled="0"/>
                </a:gradFill>
                <a:latin typeface="Segoe UI"/>
                <a:cs typeface="Segoe UI"/>
              </a:rPr>
              <a:t>Reskill and upskill sales teams with </a:t>
            </a:r>
            <a:r>
              <a:rPr lang="en-US" sz="1200" b="1" dirty="0">
                <a:gradFill>
                  <a:gsLst>
                    <a:gs pos="0">
                      <a:srgbClr val="3C3C41"/>
                    </a:gs>
                    <a:gs pos="100000">
                      <a:srgbClr val="3C3C41"/>
                    </a:gs>
                  </a:gsLst>
                  <a:lin ang="5400000" scaled="0"/>
                </a:gradFill>
                <a:latin typeface="Segoe UI"/>
                <a:cs typeface="Segoe UI"/>
              </a:rPr>
              <a:t>interactive, online learning and training</a:t>
            </a:r>
            <a:endParaRPr kumimoji="0" lang="en-US" sz="1200" b="1"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7</a:t>
            </a:fld>
            <a:endParaRPr lang="en-US"/>
          </a:p>
        </p:txBody>
      </p:sp>
    </p:spTree>
    <p:extLst>
      <p:ext uri="{BB962C8B-B14F-4D97-AF65-F5344CB8AC3E}">
        <p14:creationId xmlns:p14="http://schemas.microsoft.com/office/powerpoint/2010/main" val="1190964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Segoe UI Light" panose="020B0502040204020203" pitchFamily="34" charset="0"/>
                <a:ea typeface="+mn-ea"/>
                <a:cs typeface="Segoe UI Light" panose="020B0502040204020203" pitchFamily="34" charset="0"/>
              </a:rPr>
              <a:t>Organizations face critical challenges in retooling for an increasingly digital buying journey. The root of the problems is the fragmented customer data. When crucial customer data resides in silos – in CRM systems, in social networks like LinkedIn, and productivity and email systems, it’s impossible to derive meaningful and actionable insights for understanding and engaging buyers. But for organizations that can unify the data and harness the data to gain insights, the results can be truly transformative.</a:t>
            </a:r>
          </a:p>
        </p:txBody>
      </p:sp>
      <p:sp>
        <p:nvSpPr>
          <p:cNvPr id="4" name="Slide Number Placeholder 3"/>
          <p:cNvSpPr>
            <a:spLocks noGrp="1"/>
          </p:cNvSpPr>
          <p:nvPr>
            <p:ph type="sldNum" sz="quarter" idx="5"/>
          </p:nvPr>
        </p:nvSpPr>
        <p:spPr/>
        <p:txBody>
          <a:bodyPr/>
          <a:lstStyle/>
          <a:p>
            <a:fld id="{3D7B9D4F-5F19-438C-92E8-037C6AE8F87D}" type="slidenum">
              <a:rPr lang="en-US" smtClean="0"/>
              <a:t>8</a:t>
            </a:fld>
            <a:endParaRPr lang="en-US"/>
          </a:p>
        </p:txBody>
      </p:sp>
    </p:spTree>
    <p:extLst>
      <p:ext uri="{BB962C8B-B14F-4D97-AF65-F5344CB8AC3E}">
        <p14:creationId xmlns:p14="http://schemas.microsoft.com/office/powerpoint/2010/main" val="20157396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a:extLst>
              <a:ext uri="{FF2B5EF4-FFF2-40B4-BE49-F238E27FC236}">
                <a16:creationId xmlns:a16="http://schemas.microsoft.com/office/drawing/2014/main" id="{AEBADA1D-2448-4964-B469-0F42E806257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a:extLst>
              <a:ext uri="{FF2B5EF4-FFF2-40B4-BE49-F238E27FC236}">
                <a16:creationId xmlns:a16="http://schemas.microsoft.com/office/drawing/2014/main" id="{F0BD89DC-40B9-4888-827B-6484AE892EE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400" b="0" i="0" u="none" strike="noStrike" kern="1200" dirty="0">
                <a:solidFill>
                  <a:schemeClr val="tx1"/>
                </a:solidFill>
                <a:effectLst/>
                <a:latin typeface="Segoe UI Light" panose="020B0502040204020203" pitchFamily="34" charset="0"/>
                <a:ea typeface="+mn-ea"/>
                <a:cs typeface="Segoe UI Light" panose="020B0502040204020203" pitchFamily="34" charset="0"/>
              </a:rPr>
              <a:t>HP’s 1,200 global employees are equipped with relationship selling tools from Dynamics 365 and LinkedIn Sales Navigator, and the results have been impressive. HP </a:t>
            </a:r>
            <a:r>
              <a:rPr lang="en-GB" sz="1400" b="0" i="0" u="none" strike="noStrike" kern="1200" dirty="0">
                <a:solidFill>
                  <a:schemeClr val="tx1"/>
                </a:solidFill>
                <a:effectLst/>
                <a:latin typeface="Segoe UI Light" panose="020B0502040204020203" pitchFamily="34" charset="0"/>
                <a:ea typeface="+mn-ea"/>
                <a:cs typeface="Segoe UI Light" panose="020B0502040204020203" pitchFamily="34" charset="0"/>
              </a:rPr>
              <a:t>has since grown the contribution to its sales pipeline by 6,500% in four months. </a:t>
            </a:r>
          </a:p>
          <a:p>
            <a:endParaRPr lang="en-GB" sz="1400" b="0" i="0" u="none" strike="noStrike" kern="1200" dirty="0">
              <a:solidFill>
                <a:schemeClr val="tx1"/>
              </a:solidFill>
              <a:effectLst/>
              <a:latin typeface="Segoe UI Light" panose="020B0502040204020203" pitchFamily="34" charset="0"/>
              <a:ea typeface="+mn-ea"/>
              <a:cs typeface="Segoe UI Light" panose="020B0502040204020203" pitchFamily="34" charset="0"/>
            </a:endParaRPr>
          </a:p>
          <a:p>
            <a:r>
              <a:rPr lang="en-US" sz="1400" b="0" i="0" u="none" strike="noStrike" kern="1200" dirty="0">
                <a:solidFill>
                  <a:schemeClr val="tx1"/>
                </a:solidFill>
                <a:effectLst/>
                <a:latin typeface="Segoe UI Light" panose="020B0502040204020203" pitchFamily="34" charset="0"/>
                <a:ea typeface="+mn-ea"/>
                <a:cs typeface="Segoe UI Light" panose="020B0502040204020203" pitchFamily="34" charset="0"/>
              </a:rPr>
              <a:t>With its extensive vendor networks and large business-to-business customer base, HP knew there was a huge untapped opportunity to identify more stakeholders and decision-makers and nurture relationships. With Microsoft Relationship Sales, which combines Dynamics 365 Sales with LinkedIn Sales Navigator, HP sellers can access LinkedIn’s network of over 645 million professionals, unlocking new ways to digitally identify, connect to, and engage with customers. They can then save any suitable prospects they find, so the prospects’ LinkedIn profile, updates, and shares appear directly in Dynamics 365. This provides context for the salesperson to reach out at the right moment through LinkedIn InMail email, which is automatically logged in Dynamics 365 as an activity. After HP salespeople identify a prospect, they can also connect with them by using another key feature of LinkedIn Sales Navigator: </a:t>
            </a:r>
            <a:r>
              <a:rPr lang="en-US" sz="1400" b="0" i="0" u="none" strike="noStrike" kern="1200" dirty="0" err="1">
                <a:solidFill>
                  <a:schemeClr val="tx1"/>
                </a:solidFill>
                <a:effectLst/>
                <a:latin typeface="Segoe UI Light" panose="020B0502040204020203" pitchFamily="34" charset="0"/>
                <a:ea typeface="+mn-ea"/>
                <a:cs typeface="Segoe UI Light" panose="020B0502040204020203" pitchFamily="34" charset="0"/>
              </a:rPr>
              <a:t>TeamLink</a:t>
            </a:r>
            <a:r>
              <a:rPr lang="en-US" sz="1400" b="0" i="0" u="none" strike="noStrike" kern="1200" dirty="0">
                <a:solidFill>
                  <a:schemeClr val="tx1"/>
                </a:solidFill>
                <a:effectLst/>
                <a:latin typeface="Segoe UI Light" panose="020B0502040204020203" pitchFamily="34" charset="0"/>
                <a:ea typeface="+mn-ea"/>
                <a:cs typeface="Segoe UI Light" panose="020B0502040204020203" pitchFamily="34" charset="0"/>
              </a:rPr>
              <a:t>. This reveals other people at HP who have a first-degree connection with the prospect and can provide a warm introduction to the prospect – a highly effective way to start a new business relationship. With Dynamics 365 and LinkedIn Sales Navigator, HP has made fast and impressive progress in relationship selling and achieved measurable business results. </a:t>
            </a:r>
          </a:p>
          <a:p>
            <a:endParaRPr lang="en-US" sz="1400" b="0" i="0" u="none" strike="noStrike" kern="1200" dirty="0">
              <a:solidFill>
                <a:schemeClr val="tx1"/>
              </a:solidFill>
              <a:effectLst/>
              <a:latin typeface="Segoe UI Light" panose="020B0502040204020203" pitchFamily="34" charset="0"/>
              <a:ea typeface="+mn-ea"/>
              <a:cs typeface="Segoe UI Light" panose="020B0502040204020203" pitchFamily="34" charset="0"/>
            </a:endParaRPr>
          </a:p>
          <a:p>
            <a:r>
              <a:rPr lang="en-US" sz="1400" b="0" i="0" u="none" strike="noStrike" kern="1200" dirty="0">
                <a:solidFill>
                  <a:schemeClr val="tx1"/>
                </a:solidFill>
                <a:effectLst/>
                <a:latin typeface="Segoe UI Light" panose="020B0502040204020203" pitchFamily="34" charset="0"/>
                <a:ea typeface="+mn-ea"/>
                <a:cs typeface="Segoe UI Light" panose="020B0502040204020203" pitchFamily="34" charset="0"/>
              </a:rPr>
              <a:t>https://customers.microsoft.com/en-us/story/738213-hp-manufacturing-united-states-dynamics365-sales</a:t>
            </a:r>
          </a:p>
        </p:txBody>
      </p:sp>
      <p:sp>
        <p:nvSpPr>
          <p:cNvPr id="6148" name="Slide Number Placeholder 3">
            <a:extLst>
              <a:ext uri="{FF2B5EF4-FFF2-40B4-BE49-F238E27FC236}">
                <a16:creationId xmlns:a16="http://schemas.microsoft.com/office/drawing/2014/main" id="{BEFD6E5A-6F9F-4854-B1FC-2CF36A9005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1C2554C-0386-46F5-A837-A5B13D7F52DD}"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95915" y="597450"/>
            <a:ext cx="1393641" cy="298433"/>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p:nvPicPr>
        <p:blipFill rotWithShape="1">
          <a:blip r:embed="rId3"/>
          <a:srcRect l="32559" r="10791"/>
          <a:stretch/>
        </p:blipFill>
        <p:spPr bwMode="ltGray">
          <a:xfrm>
            <a:off x="5440958" y="0"/>
            <a:ext cx="6995517" cy="6994525"/>
          </a:xfrm>
          <a:prstGeom prst="rect">
            <a:avLst/>
          </a:prstGeom>
        </p:spPr>
      </p:pic>
    </p:spTree>
    <p:extLst>
      <p:ext uri="{BB962C8B-B14F-4D97-AF65-F5344CB8AC3E}">
        <p14:creationId xmlns:p14="http://schemas.microsoft.com/office/powerpoint/2010/main" val="614756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2744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96533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6787586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147258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555142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8846308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0122224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544444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3911298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31279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95914" y="597450"/>
            <a:ext cx="1393840" cy="298433"/>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p:nvPicPr>
        <p:blipFill rotWithShape="1">
          <a:blip r:embed="rId3"/>
          <a:srcRect l="32559" r="10791"/>
          <a:stretch/>
        </p:blipFill>
        <p:spPr bwMode="ltGray">
          <a:xfrm>
            <a:off x="5440958" y="0"/>
            <a:ext cx="6995517" cy="6994525"/>
          </a:xfrm>
          <a:prstGeom prst="rect">
            <a:avLst/>
          </a:prstGeom>
        </p:spPr>
      </p:pic>
    </p:spTree>
    <p:extLst>
      <p:ext uri="{BB962C8B-B14F-4D97-AF65-F5344CB8AC3E}">
        <p14:creationId xmlns:p14="http://schemas.microsoft.com/office/powerpoint/2010/main" val="3265645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916580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8170692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0264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902601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04552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14939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2800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3216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301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2013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404665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6951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80719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41472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92D7C-1CFF-4133-93AC-13349F246AFE}"/>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1088"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3092D7C-1CFF-4133-93AC-13349F246AFE}"/>
                          </a:ext>
                        </a:extLst>
                      </p:cNvPr>
                      <p:cNvPicPr/>
                      <p:nvPr/>
                    </p:nvPicPr>
                    <p:blipFill>
                      <a:blip r:embed="rId5"/>
                      <a:stretch>
                        <a:fillRect/>
                      </a:stretch>
                    </p:blipFill>
                    <p:spPr>
                      <a:xfrm>
                        <a:off x="1620" y="1619"/>
                        <a:ext cx="1620" cy="1620"/>
                      </a:xfrm>
                      <a:prstGeom prst="rect">
                        <a:avLst/>
                      </a:prstGeom>
                    </p:spPr>
                  </p:pic>
                </p:oleObj>
              </mc:Fallback>
            </mc:AlternateContent>
          </a:graphicData>
        </a:graphic>
      </p:graphicFrame>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56"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87797577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95914" y="597450"/>
            <a:ext cx="1393840" cy="298433"/>
          </a:xfrm>
          <a:prstGeom prst="rect">
            <a:avLst/>
          </a:prstGeom>
        </p:spPr>
      </p:pic>
      <p:grpSp>
        <p:nvGrpSpPr>
          <p:cNvPr id="7" name="Group 6">
            <a:extLst>
              <a:ext uri="{FF2B5EF4-FFF2-40B4-BE49-F238E27FC236}">
                <a16:creationId xmlns:a16="http://schemas.microsoft.com/office/drawing/2014/main" id="{29CC3C6F-0A69-4284-B809-AFDA182E6107}"/>
              </a:ext>
            </a:extLst>
          </p:cNvPr>
          <p:cNvGrpSpPr/>
          <p:nvPr userDrawn="1"/>
        </p:nvGrpSpPr>
        <p:grpSpPr>
          <a:xfrm>
            <a:off x="465140" y="449265"/>
            <a:ext cx="933131" cy="200341"/>
            <a:chOff x="465139" y="449264"/>
            <a:chExt cx="933131" cy="200341"/>
          </a:xfrm>
        </p:grpSpPr>
        <p:pic>
          <p:nvPicPr>
            <p:cNvPr id="8" name="Picture 7">
              <a:extLst>
                <a:ext uri="{FF2B5EF4-FFF2-40B4-BE49-F238E27FC236}">
                  <a16:creationId xmlns:a16="http://schemas.microsoft.com/office/drawing/2014/main" id="{D2350CD3-032F-48A9-8666-51D2BD4BFA1E}"/>
                </a:ext>
              </a:extLst>
            </p:cNvPr>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pic>
          <p:nvPicPr>
            <p:cNvPr id="10" name="MS logo gray - EMF">
              <a:extLst>
                <a:ext uri="{FF2B5EF4-FFF2-40B4-BE49-F238E27FC236}">
                  <a16:creationId xmlns:a16="http://schemas.microsoft.com/office/drawing/2014/main" id="{1709FD76-81F3-4808-99A9-DEF7E5F603B9}"/>
                </a:ext>
              </a:extLst>
            </p:cNvPr>
            <p:cNvPicPr>
              <a:picLocks noChangeAspect="1"/>
            </p:cNvPicPr>
            <p:nvPr userDrawn="1"/>
          </p:nvPicPr>
          <p:blipFill rotWithShape="1">
            <a:blip r:embed="rId2"/>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972035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37914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39797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6619556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013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62146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5"/>
          <a:srcRect l="762"/>
          <a:stretch/>
        </p:blipFill>
        <p:spPr>
          <a:xfrm rot="5400000">
            <a:off x="9700947" y="2900301"/>
            <a:ext cx="6994525" cy="1193925"/>
          </a:xfrm>
          <a:prstGeom prst="rect">
            <a:avLst/>
          </a:prstGeom>
        </p:spPr>
      </p:pic>
      <p:pic>
        <p:nvPicPr>
          <p:cNvPr id="50" name="Picture 49">
            <a:extLst>
              <a:ext uri="{FF2B5EF4-FFF2-40B4-BE49-F238E27FC236}">
                <a16:creationId xmlns:a16="http://schemas.microsoft.com/office/drawing/2014/main" id="{A113E65B-D49E-4DD0-8A45-1556537CC2F8}"/>
              </a:ext>
            </a:extLst>
          </p:cNvPr>
          <p:cNvPicPr>
            <a:picLocks noChangeAspect="1"/>
          </p:cNvPicPr>
          <p:nvPr userDrawn="1"/>
        </p:nvPicPr>
        <p:blipFill>
          <a:blip r:embed="rId36"/>
          <a:stretch>
            <a:fillRect/>
          </a:stretch>
        </p:blipFill>
        <p:spPr>
          <a:xfrm rot="5400000">
            <a:off x="9363859" y="3071982"/>
            <a:ext cx="6995160" cy="849926"/>
          </a:xfrm>
          <a:prstGeom prst="rect">
            <a:avLst/>
          </a:prstGeom>
        </p:spPr>
      </p:pic>
    </p:spTree>
    <p:extLst>
      <p:ext uri="{BB962C8B-B14F-4D97-AF65-F5344CB8AC3E}">
        <p14:creationId xmlns:p14="http://schemas.microsoft.com/office/powerpoint/2010/main" val="3965518522"/>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 id="2147484245" r:id="rId17"/>
    <p:sldLayoutId id="2147484246" r:id="rId18"/>
    <p:sldLayoutId id="2147484247" r:id="rId19"/>
    <p:sldLayoutId id="2147484248" r:id="rId20"/>
    <p:sldLayoutId id="2147484249" r:id="rId21"/>
    <p:sldLayoutId id="2147484250" r:id="rId22"/>
    <p:sldLayoutId id="2147484251" r:id="rId23"/>
    <p:sldLayoutId id="2147484252" r:id="rId24"/>
    <p:sldLayoutId id="2147484253" r:id="rId25"/>
    <p:sldLayoutId id="2147484254" r:id="rId26"/>
    <p:sldLayoutId id="2147484255" r:id="rId27"/>
    <p:sldLayoutId id="2147484256" r:id="rId28"/>
    <p:sldLayoutId id="2147484257" r:id="rId29"/>
    <p:sldLayoutId id="2147484258" r:id="rId30"/>
    <p:sldLayoutId id="2147484259" r:id="rId31"/>
    <p:sldLayoutId id="2147484260" r:id="rId32"/>
    <p:sldLayoutId id="2147484261" r:id="rId33"/>
  </p:sldLayoutIdLst>
  <p:transition>
    <p:fade/>
  </p:transition>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354">
          <p15:clr>
            <a:srgbClr val="C35EA4"/>
          </p15:clr>
        </p15:guide>
        <p15:guide id="32" pos="1498">
          <p15:clr>
            <a:srgbClr val="C35EA4"/>
          </p15:clr>
        </p15:guide>
        <p15:guide id="33" pos="2567">
          <p15:clr>
            <a:srgbClr val="C35EA4"/>
          </p15:clr>
        </p15:guide>
        <p15:guide id="34" pos="2711">
          <p15:clr>
            <a:srgbClr val="C35EA4"/>
          </p15:clr>
        </p15:guide>
        <p15:guide id="35" pos="3778">
          <p15:clr>
            <a:srgbClr val="C35EA4"/>
          </p15:clr>
        </p15:guide>
        <p15:guide id="36" pos="3924">
          <p15:clr>
            <a:srgbClr val="C35EA4"/>
          </p15:clr>
        </p15:guide>
        <p15:guide id="37" pos="4983">
          <p15:clr>
            <a:srgbClr val="C35EA4"/>
          </p15:clr>
        </p15:guide>
        <p15:guide id="38" pos="5127">
          <p15:clr>
            <a:srgbClr val="C35EA4"/>
          </p15:clr>
        </p15:guide>
        <p15:guide id="39" pos="6199">
          <p15:clr>
            <a:srgbClr val="C35EA4"/>
          </p15:clr>
        </p15:guide>
        <p15:guide id="40" pos="6342">
          <p15:clr>
            <a:srgbClr val="C35EA4"/>
          </p15:clr>
        </p15:guide>
        <p15:guide id="41" pos="287">
          <p15:clr>
            <a:srgbClr val="F26B43"/>
          </p15:clr>
        </p15:guide>
        <p15:guide id="42" pos="7409">
          <p15:clr>
            <a:srgbClr val="F26B43"/>
          </p15:clr>
        </p15:guide>
        <p15:guide id="43" orient="horz" pos="736">
          <p15:clr>
            <a:srgbClr val="5ACBF0"/>
          </p15:clr>
        </p15:guide>
        <p15:guide id="44" orient="horz" pos="1339">
          <p15:clr>
            <a:srgbClr val="5ACBF0"/>
          </p15:clr>
        </p15:guide>
        <p15:guide id="45" orient="horz" pos="593">
          <p15:clr>
            <a:srgbClr val="5ACBF0"/>
          </p15:clr>
        </p15:guide>
        <p15:guide id="46" orient="horz" pos="1484">
          <p15:clr>
            <a:srgbClr val="5ACBF0"/>
          </p15:clr>
        </p15:guide>
        <p15:guide id="47" orient="horz" pos="2088">
          <p15:clr>
            <a:srgbClr val="5ACBF0"/>
          </p15:clr>
        </p15:guide>
        <p15:guide id="48" orient="horz" pos="2231">
          <p15:clr>
            <a:srgbClr val="5ACBF0"/>
          </p15:clr>
        </p15:guide>
        <p15:guide id="49" orient="horz" pos="277">
          <p15:clr>
            <a:srgbClr val="F26B43"/>
          </p15:clr>
        </p15:guide>
        <p15:guide id="50" orient="horz" pos="4040">
          <p15:clr>
            <a:srgbClr val="F26B43"/>
          </p15:clr>
        </p15:guide>
        <p15:guide id="51" orient="horz" pos="2835">
          <p15:clr>
            <a:srgbClr val="5ACBF0"/>
          </p15:clr>
        </p15:guide>
        <p15:guide id="52" orient="horz" pos="2979">
          <p15:clr>
            <a:srgbClr val="5ACBF0"/>
          </p15:clr>
        </p15:guide>
        <p15:guide id="53" orient="horz" pos="3583">
          <p15:clr>
            <a:srgbClr val="5ACBF0"/>
          </p15:clr>
        </p15:guide>
        <p15:guide id="54" orient="horz" pos="3726">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hyperlink" Target="https://www.youtube.com/watch?v=MS3wFn_DRtY" TargetMode="External"/><Relationship Id="rId5" Type="http://schemas.openxmlformats.org/officeDocument/2006/relationships/hyperlink" Target="https://dynamics.microsoft.com/en-us/get-started/?appname=sales" TargetMode="External"/><Relationship Id="rId4" Type="http://schemas.openxmlformats.org/officeDocument/2006/relationships/hyperlink" Target="https://dynamics.microsoft.com/en-us/sales/capabilities/"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28.xml"/><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8.xml"/><Relationship Id="rId5" Type="http://schemas.openxmlformats.org/officeDocument/2006/relationships/image" Target="../media/image25.jpeg"/><Relationship Id="rId4" Type="http://schemas.openxmlformats.org/officeDocument/2006/relationships/image" Target="../media/image24.sv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28.xml"/><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28.xml"/><Relationship Id="rId4" Type="http://schemas.openxmlformats.org/officeDocument/2006/relationships/image" Target="../media/image29.jpe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8.xml"/><Relationship Id="rId4" Type="http://schemas.openxmlformats.org/officeDocument/2006/relationships/image" Target="../media/image31.jpe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8.xml"/><Relationship Id="rId5" Type="http://schemas.openxmlformats.org/officeDocument/2006/relationships/image" Target="../media/image32.jpeg"/><Relationship Id="rId4" Type="http://schemas.openxmlformats.org/officeDocument/2006/relationships/hyperlink" Target="https://customers.microsoft.com/en-US/story/810495-microsoft-partner-professional-services-dynamics-365"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8.xml"/><Relationship Id="rId1" Type="http://schemas.openxmlformats.org/officeDocument/2006/relationships/slideLayout" Target="../slideLayouts/slideLayout28.xml"/><Relationship Id="rId5" Type="http://schemas.openxmlformats.org/officeDocument/2006/relationships/image" Target="../media/image34.jpeg"/><Relationship Id="rId4" Type="http://schemas.openxmlformats.org/officeDocument/2006/relationships/hyperlink" Target="https://customers.microsoft.com/en-us/story/crane-worldwide-logistics-travel-transportation-relationship-sales"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ww.gartner.com/en/sales-service/insights/b2b-buying-journey"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hyperlink" Target="https://www.gartner.com/en/documents/3982971" TargetMode="External"/><Relationship Id="rId5" Type="http://schemas.openxmlformats.org/officeDocument/2006/relationships/hyperlink" Target="https://www.trustradius.com/vendor-blog/millennial-b2b-buyers-what-you-need-to-know-about-the-new-wave-of-decision-makers" TargetMode="External"/><Relationship Id="rId4" Type="http://schemas.openxmlformats.org/officeDocument/2006/relationships/hyperlink" Target="https://www.gartner.com/smarterwithgartner/what-sales-should-know-about-b2b-buyers-in-2019/"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9.xml"/><Relationship Id="rId1" Type="http://schemas.openxmlformats.org/officeDocument/2006/relationships/slideLayout" Target="../slideLayouts/slideLayout28.xml"/><Relationship Id="rId5" Type="http://schemas.openxmlformats.org/officeDocument/2006/relationships/image" Target="../media/image36.tiff"/><Relationship Id="rId4" Type="http://schemas.openxmlformats.org/officeDocument/2006/relationships/hyperlink" Target="https://customers.microsoft.com/en-us/story/724212-northrop-johnson-retailers-dynamics-365"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0.xml"/><Relationship Id="rId1" Type="http://schemas.openxmlformats.org/officeDocument/2006/relationships/slideLayout" Target="../slideLayouts/slideLayout28.xml"/><Relationship Id="rId6" Type="http://schemas.openxmlformats.org/officeDocument/2006/relationships/image" Target="../media/image30.png"/><Relationship Id="rId5" Type="http://schemas.openxmlformats.org/officeDocument/2006/relationships/image" Target="../media/image39.svg"/><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jpeg"/><Relationship Id="rId1" Type="http://schemas.openxmlformats.org/officeDocument/2006/relationships/slideLayout" Target="../slideLayouts/slideLayout28.xml"/><Relationship Id="rId5" Type="http://schemas.openxmlformats.org/officeDocument/2006/relationships/image" Target="../media/image42.png"/><Relationship Id="rId4" Type="http://schemas.openxmlformats.org/officeDocument/2006/relationships/image" Target="../media/image41.sv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28.xml"/><Relationship Id="rId6" Type="http://schemas.openxmlformats.org/officeDocument/2006/relationships/image" Target="../media/image44.png"/><Relationship Id="rId5" Type="http://schemas.openxmlformats.org/officeDocument/2006/relationships/image" Target="../media/image41.sv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2.xml"/><Relationship Id="rId1" Type="http://schemas.openxmlformats.org/officeDocument/2006/relationships/slideLayout" Target="../slideLayouts/slideLayout28.xml"/><Relationship Id="rId6" Type="http://schemas.openxmlformats.org/officeDocument/2006/relationships/image" Target="../media/image46.png"/><Relationship Id="rId5" Type="http://schemas.openxmlformats.org/officeDocument/2006/relationships/image" Target="../media/image41.sv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tags" Target="../tags/tag3.xml"/><Relationship Id="rId7" Type="http://schemas.openxmlformats.org/officeDocument/2006/relationships/image" Target="../media/image11.emf"/><Relationship Id="rId12" Type="http://schemas.openxmlformats.org/officeDocument/2006/relationships/image" Target="../media/image5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50.png"/><Relationship Id="rId5" Type="http://schemas.openxmlformats.org/officeDocument/2006/relationships/notesSlide" Target="../notesSlides/notesSlide23.xml"/><Relationship Id="rId10" Type="http://schemas.openxmlformats.org/officeDocument/2006/relationships/image" Target="../media/image49.png"/><Relationship Id="rId4" Type="http://schemas.openxmlformats.org/officeDocument/2006/relationships/slideLayout" Target="../slideLayouts/slideLayout33.xml"/><Relationship Id="rId9" Type="http://schemas.openxmlformats.org/officeDocument/2006/relationships/image" Target="../media/image48.png"/><Relationship Id="rId14" Type="http://schemas.openxmlformats.org/officeDocument/2006/relationships/image" Target="../media/image53.svg"/></Relationships>
</file>

<file path=ppt/slides/_rels/slide27.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33.xml"/><Relationship Id="rId6" Type="http://schemas.openxmlformats.org/officeDocument/2006/relationships/image" Target="../media/image57.emf"/><Relationship Id="rId5" Type="http://schemas.openxmlformats.org/officeDocument/2006/relationships/image" Target="../media/image56.png"/><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emf"/><Relationship Id="rId2" Type="http://schemas.openxmlformats.org/officeDocument/2006/relationships/notesSlide" Target="../notesSlides/notesSlide25.xml"/><Relationship Id="rId1" Type="http://schemas.openxmlformats.org/officeDocument/2006/relationships/slideLayout" Target="../slideLayouts/slideLayout33.xml"/><Relationship Id="rId6" Type="http://schemas.openxmlformats.org/officeDocument/2006/relationships/image" Target="../media/image63.emf"/><Relationship Id="rId11" Type="http://schemas.openxmlformats.org/officeDocument/2006/relationships/image" Target="../media/image53.svg"/><Relationship Id="rId5" Type="http://schemas.openxmlformats.org/officeDocument/2006/relationships/image" Target="../media/image62.png"/><Relationship Id="rId10" Type="http://schemas.openxmlformats.org/officeDocument/2006/relationships/image" Target="../media/image52.png"/><Relationship Id="rId4" Type="http://schemas.openxmlformats.org/officeDocument/2006/relationships/image" Target="../media/image61.png"/><Relationship Id="rId9" Type="http://schemas.openxmlformats.org/officeDocument/2006/relationships/image" Target="../media/image66.svg"/></Relationships>
</file>

<file path=ppt/slides/_rels/slide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33.xml"/><Relationship Id="rId5" Type="http://schemas.openxmlformats.org/officeDocument/2006/relationships/image" Target="../media/image69.pn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hyperlink" Target="https://www.linkedin.com/business/sales/blog/prospecting/its-hard-to-be-in-sales-right-now-these-free-courses-can-help" TargetMode="External"/><Relationship Id="rId5" Type="http://schemas.openxmlformats.org/officeDocument/2006/relationships/hyperlink" Target="https://dynamics.microsoft.com/en-us/sales/demo/" TargetMode="External"/><Relationship Id="rId4" Type="http://schemas.openxmlformats.org/officeDocument/2006/relationships/hyperlink" Target="https://dynamics.microsoft.com/en-us/sales/relationship-sales/"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15.svg"/><Relationship Id="rId5" Type="http://schemas.openxmlformats.org/officeDocument/2006/relationships/image" Target="../media/image14.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hyperlink" Target="https://customers.microsoft.com/en-us/story/hp-manufacturing-united-states-dynamics365-sales" TargetMode="External"/><Relationship Id="rId2" Type="http://schemas.openxmlformats.org/officeDocument/2006/relationships/notesSlide" Target="../notesSlides/notesSlide9.xml"/><Relationship Id="rId1" Type="http://schemas.openxmlformats.org/officeDocument/2006/relationships/slideLayout" Target="../slideLayouts/slideLayout28.xml"/><Relationship Id="rId5" Type="http://schemas.openxmlformats.org/officeDocument/2006/relationships/image" Target="../media/image17.jpe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B7463-5F5E-4FAC-80E9-784891EE89CD}"/>
              </a:ext>
            </a:extLst>
          </p:cNvPr>
          <p:cNvSpPr>
            <a:spLocks noGrp="1"/>
          </p:cNvSpPr>
          <p:nvPr>
            <p:ph type="title"/>
          </p:nvPr>
        </p:nvSpPr>
        <p:spPr>
          <a:xfrm>
            <a:off x="600059" y="1908608"/>
            <a:ext cx="4251462" cy="1695272"/>
          </a:xfrm>
        </p:spPr>
        <p:txBody>
          <a:bodyPr wrap="square">
            <a:spAutoFit/>
          </a:bodyPr>
          <a:lstStyle/>
          <a:p>
            <a:pPr algn="l" rtl="0"/>
            <a:r>
              <a:rPr lang="fr-fr" sz="3650" b="0" i="0" u="none" baseline="0" dirty="0">
                <a:cs typeface="Segoe UI"/>
              </a:rPr>
              <a:t>Passer à la </a:t>
            </a:r>
            <a:br>
              <a:rPr lang="fr-fr" sz="3650" dirty="0"/>
            </a:br>
            <a:r>
              <a:rPr lang="fr-fr" sz="3650" b="0" i="0" u="none" baseline="0" dirty="0">
                <a:cs typeface="Segoe UI"/>
              </a:rPr>
              <a:t>vente numérique </a:t>
            </a:r>
            <a:br>
              <a:rPr lang="fr-fr" sz="3650" dirty="0"/>
            </a:br>
            <a:r>
              <a:rPr lang="fr-fr" sz="3650" b="0" i="0" u="none" baseline="0" dirty="0">
                <a:cs typeface="Segoe UI"/>
              </a:rPr>
              <a:t>avec Microsoft</a:t>
            </a:r>
          </a:p>
        </p:txBody>
      </p:sp>
      <p:sp>
        <p:nvSpPr>
          <p:cNvPr id="3" name="Text Placeholder 2">
            <a:extLst>
              <a:ext uri="{FF2B5EF4-FFF2-40B4-BE49-F238E27FC236}">
                <a16:creationId xmlns:a16="http://schemas.microsoft.com/office/drawing/2014/main" id="{FF186657-ACB4-4696-AA26-D2F6AE87A89E}"/>
              </a:ext>
            </a:extLst>
          </p:cNvPr>
          <p:cNvSpPr>
            <a:spLocks noGrp="1"/>
          </p:cNvSpPr>
          <p:nvPr>
            <p:ph type="body" sz="quarter" idx="12"/>
          </p:nvPr>
        </p:nvSpPr>
        <p:spPr>
          <a:xfrm>
            <a:off x="593713" y="4041281"/>
            <a:ext cx="4248092" cy="1036053"/>
          </a:xfrm>
        </p:spPr>
        <p:txBody>
          <a:bodyPr vert="horz" wrap="square" lIns="0" tIns="0" rIns="0" bIns="0" rtlCol="0" anchor="t">
            <a:spAutoFit/>
          </a:bodyPr>
          <a:lstStyle/>
          <a:p>
            <a:pPr algn="l" rtl="0"/>
            <a:r>
              <a:rPr lang="fr-fr" sz="2200" b="0" i="0" u="none" baseline="0" dirty="0">
                <a:cs typeface="Segoe UI"/>
              </a:rPr>
              <a:t>Des expériences d</a:t>
            </a:r>
            <a:r>
              <a:rPr lang="fr-FR" sz="2200" b="0" i="0" u="none" baseline="0" dirty="0">
                <a:cs typeface="Segoe UI"/>
              </a:rPr>
              <a:t>’</a:t>
            </a:r>
            <a:r>
              <a:rPr lang="fr-fr" sz="2200" b="0" i="0" u="none" baseline="0" dirty="0">
                <a:cs typeface="Segoe UI"/>
              </a:rPr>
              <a:t>achat totalement numériques à </a:t>
            </a:r>
            <a:br>
              <a:rPr lang="fr-fr" sz="2200" b="0" i="0" u="none" baseline="0" dirty="0"/>
            </a:br>
            <a:r>
              <a:rPr lang="fr-fr" sz="2200" b="0" i="0" u="none" baseline="0" dirty="0">
                <a:cs typeface="Segoe UI"/>
              </a:rPr>
              <a:t>chaque étape du parcours client</a:t>
            </a:r>
          </a:p>
        </p:txBody>
      </p:sp>
    </p:spTree>
    <p:extLst>
      <p:ext uri="{BB962C8B-B14F-4D97-AF65-F5344CB8AC3E}">
        <p14:creationId xmlns:p14="http://schemas.microsoft.com/office/powerpoint/2010/main" val="254081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descr="A group of people sitting in front of a window&#10;&#10;Description automatically generated">
            <a:extLst>
              <a:ext uri="{FF2B5EF4-FFF2-40B4-BE49-F238E27FC236}">
                <a16:creationId xmlns:a16="http://schemas.microsoft.com/office/drawing/2014/main" id="{7E493DC0-6F8D-4116-8D51-D7B709043E95}"/>
              </a:ext>
            </a:extLst>
          </p:cNvPr>
          <p:cNvPicPr>
            <a:picLocks noChangeAspect="1"/>
          </p:cNvPicPr>
          <p:nvPr/>
        </p:nvPicPr>
        <p:blipFill rotWithShape="1">
          <a:blip r:embed="rId3"/>
          <a:srcRect l="395" t="68752" r="104" b="1918"/>
          <a:stretch/>
        </p:blipFill>
        <p:spPr>
          <a:xfrm>
            <a:off x="0" y="1903026"/>
            <a:ext cx="11836416" cy="2326072"/>
          </a:xfrm>
          <a:custGeom>
            <a:avLst/>
            <a:gdLst>
              <a:gd name="connsiteX0" fmla="*/ 0 w 11836416"/>
              <a:gd name="connsiteY0" fmla="*/ 0 h 2326072"/>
              <a:gd name="connsiteX1" fmla="*/ 11739012 w 11836416"/>
              <a:gd name="connsiteY1" fmla="*/ 0 h 2326072"/>
              <a:gd name="connsiteX2" fmla="*/ 11836416 w 11836416"/>
              <a:gd name="connsiteY2" fmla="*/ 96380 h 2326072"/>
              <a:gd name="connsiteX3" fmla="*/ 11836416 w 11836416"/>
              <a:gd name="connsiteY3" fmla="*/ 617240 h 2326072"/>
              <a:gd name="connsiteX4" fmla="*/ 11836416 w 11836416"/>
              <a:gd name="connsiteY4" fmla="*/ 1805212 h 2326072"/>
              <a:gd name="connsiteX5" fmla="*/ 11836416 w 11836416"/>
              <a:gd name="connsiteY5" fmla="*/ 2326072 h 2326072"/>
              <a:gd name="connsiteX6" fmla="*/ 0 w 11836416"/>
              <a:gd name="connsiteY6" fmla="*/ 2326072 h 2326072"/>
              <a:gd name="connsiteX7" fmla="*/ 0 w 11836416"/>
              <a:gd name="connsiteY7" fmla="*/ 1805212 h 2326072"/>
              <a:gd name="connsiteX8" fmla="*/ 0 w 11836416"/>
              <a:gd name="connsiteY8" fmla="*/ 520860 h 232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36416" h="2326072">
                <a:moveTo>
                  <a:pt x="0" y="0"/>
                </a:moveTo>
                <a:lnTo>
                  <a:pt x="11739012" y="0"/>
                </a:lnTo>
                <a:cubicBezTo>
                  <a:pt x="11792806" y="0"/>
                  <a:pt x="11836416" y="43151"/>
                  <a:pt x="11836416" y="96380"/>
                </a:cubicBezTo>
                <a:lnTo>
                  <a:pt x="11836416" y="617240"/>
                </a:lnTo>
                <a:lnTo>
                  <a:pt x="11836416" y="1805212"/>
                </a:lnTo>
                <a:lnTo>
                  <a:pt x="11836416" y="2326072"/>
                </a:lnTo>
                <a:lnTo>
                  <a:pt x="0" y="2326072"/>
                </a:lnTo>
                <a:lnTo>
                  <a:pt x="0" y="1805212"/>
                </a:lnTo>
                <a:lnTo>
                  <a:pt x="0" y="520860"/>
                </a:lnTo>
                <a:close/>
              </a:path>
            </a:pathLst>
          </a:custGeom>
        </p:spPr>
      </p:pic>
      <p:sp>
        <p:nvSpPr>
          <p:cNvPr id="2" name="Title 1">
            <a:extLst>
              <a:ext uri="{FF2B5EF4-FFF2-40B4-BE49-F238E27FC236}">
                <a16:creationId xmlns:a16="http://schemas.microsoft.com/office/drawing/2014/main" id="{13286E30-31AA-4456-BCA3-3F3AF807C5C8}"/>
              </a:ext>
            </a:extLst>
          </p:cNvPr>
          <p:cNvSpPr>
            <a:spLocks noGrp="1"/>
          </p:cNvSpPr>
          <p:nvPr>
            <p:ph type="title"/>
          </p:nvPr>
        </p:nvSpPr>
        <p:spPr/>
        <p:txBody>
          <a:bodyPr/>
          <a:lstStyle/>
          <a:p>
            <a:pPr algn="l" rtl="0"/>
            <a:r>
              <a:rPr lang="fr-fr" sz="3650" b="0" i="0" u="none" baseline="0" dirty="0">
                <a:cs typeface="Segoe UI"/>
              </a:rPr>
              <a:t>Passez à la vente numérique avec Dynamics 365 Sales</a:t>
            </a:r>
          </a:p>
        </p:txBody>
      </p:sp>
      <p:grpSp>
        <p:nvGrpSpPr>
          <p:cNvPr id="17" name="Group 16">
            <a:extLst>
              <a:ext uri="{FF2B5EF4-FFF2-40B4-BE49-F238E27FC236}">
                <a16:creationId xmlns:a16="http://schemas.microsoft.com/office/drawing/2014/main" id="{59B4B03E-E46D-4704-9AE9-A6D807D003D1}"/>
              </a:ext>
            </a:extLst>
          </p:cNvPr>
          <p:cNvGrpSpPr/>
          <p:nvPr/>
        </p:nvGrpSpPr>
        <p:grpSpPr>
          <a:xfrm>
            <a:off x="587603" y="1168396"/>
            <a:ext cx="11174185" cy="5826130"/>
            <a:chOff x="587603" y="1168396"/>
            <a:chExt cx="11174185" cy="5826130"/>
          </a:xfrm>
        </p:grpSpPr>
        <p:sp>
          <p:nvSpPr>
            <p:cNvPr id="18" name="Arrow: Bent 17">
              <a:extLst>
                <a:ext uri="{FF2B5EF4-FFF2-40B4-BE49-F238E27FC236}">
                  <a16:creationId xmlns:a16="http://schemas.microsoft.com/office/drawing/2014/main" id="{73201976-19EC-41FD-9D3D-2F0CACCAC97E}"/>
                </a:ext>
              </a:extLst>
            </p:cNvPr>
            <p:cNvSpPr/>
            <p:nvPr/>
          </p:nvSpPr>
          <p:spPr bwMode="auto">
            <a:xfrm rot="5400000" flipH="1" flipV="1">
              <a:off x="4499088" y="-2743089"/>
              <a:ext cx="660403" cy="8483373"/>
            </a:xfrm>
            <a:prstGeom prst="bentArrow">
              <a:avLst>
                <a:gd name="adj1" fmla="val 25000"/>
                <a:gd name="adj2" fmla="val 0"/>
                <a:gd name="adj3" fmla="val 25000"/>
                <a:gd name="adj4" fmla="val 8055"/>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9" name="Arrow: Bent 18">
              <a:extLst>
                <a:ext uri="{FF2B5EF4-FFF2-40B4-BE49-F238E27FC236}">
                  <a16:creationId xmlns:a16="http://schemas.microsoft.com/office/drawing/2014/main" id="{E5DE8DC0-8F89-41DE-80F6-E9F47C210163}"/>
                </a:ext>
              </a:extLst>
            </p:cNvPr>
            <p:cNvSpPr/>
            <p:nvPr/>
          </p:nvSpPr>
          <p:spPr bwMode="auto">
            <a:xfrm rot="5400000">
              <a:off x="7749381" y="2982120"/>
              <a:ext cx="5165725" cy="2859088"/>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23" name="Rectangle 22">
            <a:extLst>
              <a:ext uri="{FF2B5EF4-FFF2-40B4-BE49-F238E27FC236}">
                <a16:creationId xmlns:a16="http://schemas.microsoft.com/office/drawing/2014/main" id="{139B6FC6-7D77-4677-9BEE-CCE2972282F8}"/>
              </a:ext>
            </a:extLst>
          </p:cNvPr>
          <p:cNvSpPr/>
          <p:nvPr/>
        </p:nvSpPr>
        <p:spPr bwMode="auto">
          <a:xfrm>
            <a:off x="600059" y="3556000"/>
            <a:ext cx="3606410"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defTabSz="950938">
              <a:defRPr/>
            </a:pPr>
            <a:r>
              <a:rPr lang="fr-fr" sz="2000" b="0" i="0" u="none" baseline="0" dirty="0">
                <a:solidFill>
                  <a:schemeClr val="tx1"/>
                </a:solidFill>
                <a:cs typeface="Segoe UI"/>
              </a:rPr>
              <a:t>En savoir plus sur </a:t>
            </a:r>
            <a:br>
              <a:rPr lang="fr-fr" sz="2000" b="0" i="0" u="none" baseline="0" dirty="0">
                <a:solidFill>
                  <a:schemeClr val="tx1"/>
                </a:solidFill>
                <a:cs typeface="Segoe UI"/>
              </a:rPr>
            </a:br>
            <a:r>
              <a:rPr lang="fr-fr" sz="2000" b="0" i="0" u="none" baseline="0" dirty="0">
                <a:solidFill>
                  <a:schemeClr val="tx1"/>
                </a:solidFill>
                <a:cs typeface="Segoe UI"/>
              </a:rPr>
              <a:t>les fonctionnalités :</a:t>
            </a:r>
            <a:r>
              <a:rPr lang="fr-fr" sz="2000" dirty="0">
                <a:solidFill>
                  <a:schemeClr val="tx1"/>
                </a:solidFill>
                <a:cs typeface="Segoe UI"/>
              </a:rPr>
              <a:t> </a:t>
            </a:r>
            <a:endParaRPr lang="fr-fr" sz="2000" b="0" i="0" u="none" baseline="0" dirty="0">
              <a:solidFill>
                <a:schemeClr val="tx1"/>
              </a:solidFill>
              <a:cs typeface="Segoe UI"/>
            </a:endParaRPr>
          </a:p>
          <a:p>
            <a:pPr defTabSz="950938">
              <a:defRPr/>
            </a:pPr>
            <a:r>
              <a:rPr lang="fr-fr" sz="2000" b="0" i="0" u="none" baseline="0" dirty="0">
                <a:solidFill>
                  <a:schemeClr val="tx2"/>
                </a:solidFill>
                <a:cs typeface="Segoe UI"/>
                <a:hlinkClick r:id="rId4">
                  <a:extLst>
                    <a:ext uri="{A12FA001-AC4F-418D-AE19-62706E023703}">
                      <ahyp:hlinkClr xmlns:ahyp="http://schemas.microsoft.com/office/drawing/2018/hyperlinkcolor" val="tx"/>
                    </a:ext>
                  </a:extLst>
                </a:hlinkClick>
              </a:rPr>
              <a:t>https://dynamics.microsoft.com/fr-fr/sales/capabilities/</a:t>
            </a:r>
            <a:r>
              <a:rPr lang="fr-fr" sz="2000" dirty="0">
                <a:solidFill>
                  <a:schemeClr val="tx2"/>
                </a:solidFill>
                <a:cs typeface="Segoe UI"/>
              </a:rPr>
              <a:t> </a:t>
            </a:r>
            <a:endParaRPr lang="fr-fr" sz="2000" b="0" i="0" u="none" baseline="0" dirty="0">
              <a:solidFill>
                <a:schemeClr val="tx2"/>
              </a:solidFill>
              <a:cs typeface="Segoe UI"/>
            </a:endParaRPr>
          </a:p>
        </p:txBody>
      </p:sp>
      <p:sp>
        <p:nvSpPr>
          <p:cNvPr id="24" name="Rectangle 23">
            <a:extLst>
              <a:ext uri="{FF2B5EF4-FFF2-40B4-BE49-F238E27FC236}">
                <a16:creationId xmlns:a16="http://schemas.microsoft.com/office/drawing/2014/main" id="{6DE1A319-DE1E-4B93-996A-5A84673FEB54}"/>
              </a:ext>
            </a:extLst>
          </p:cNvPr>
          <p:cNvSpPr/>
          <p:nvPr/>
        </p:nvSpPr>
        <p:spPr bwMode="auto">
          <a:xfrm>
            <a:off x="4352795" y="3556000"/>
            <a:ext cx="3606410"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defTabSz="950938">
              <a:defRPr/>
            </a:pPr>
            <a:r>
              <a:rPr lang="fr-fr" sz="2000" b="0" i="0" u="none" baseline="0" dirty="0">
                <a:solidFill>
                  <a:schemeClr val="tx1"/>
                </a:solidFill>
                <a:cs typeface="Segoe UI"/>
              </a:rPr>
              <a:t>Lancez-vous :</a:t>
            </a:r>
            <a:r>
              <a:rPr lang="fr-fr" sz="2000" b="0" i="0" u="none" baseline="0" dirty="0">
                <a:solidFill>
                  <a:srgbClr val="FFFFFF"/>
                </a:solidFill>
                <a:cs typeface="Segoe UI"/>
              </a:rPr>
              <a:t> </a:t>
            </a:r>
            <a:r>
              <a:rPr lang="fr-fr" sz="2000" b="0" i="0" u="none" baseline="0" dirty="0">
                <a:solidFill>
                  <a:schemeClr val="tx2"/>
                </a:solidFill>
                <a:cs typeface="Segoe UI"/>
                <a:hlinkClick r:id="rId5">
                  <a:extLst>
                    <a:ext uri="{A12FA001-AC4F-418D-AE19-62706E023703}">
                      <ahyp:hlinkClr xmlns:ahyp="http://schemas.microsoft.com/office/drawing/2018/hyperlinkcolor" val="tx"/>
                    </a:ext>
                  </a:extLst>
                </a:hlinkClick>
              </a:rPr>
              <a:t>https://dynamics.microsoft.com/en-us/getstarted/?</a:t>
            </a:r>
            <a:br>
              <a:rPr lang="fr-fr" sz="2000" dirty="0">
                <a:cs typeface="Segoe UI"/>
                <a:hlinkClick r:id="rId5">
                  <a:extLst>
                    <a:ext uri="{A12FA001-AC4F-418D-AE19-62706E023703}">
                      <ahyp:hlinkClr xmlns:ahyp="http://schemas.microsoft.com/office/drawing/2018/hyperlinkcolor" val="tx"/>
                    </a:ext>
                  </a:extLst>
                </a:hlinkClick>
              </a:rPr>
            </a:br>
            <a:r>
              <a:rPr lang="fr-fr" sz="2000" b="0" i="0" u="none" baseline="0" dirty="0">
                <a:solidFill>
                  <a:schemeClr val="tx2"/>
                </a:solidFill>
                <a:cs typeface="Segoe UI"/>
                <a:hlinkClick r:id="rId5">
                  <a:extLst>
                    <a:ext uri="{A12FA001-AC4F-418D-AE19-62706E023703}">
                      <ahyp:hlinkClr xmlns:ahyp="http://schemas.microsoft.com/office/drawing/2018/hyperlinkcolor" val="tx"/>
                    </a:ext>
                  </a:extLst>
                </a:hlinkClick>
              </a:rPr>
              <a:t>appname=sales</a:t>
            </a:r>
            <a:r>
              <a:rPr lang="fr-fr" sz="2000" dirty="0">
                <a:solidFill>
                  <a:schemeClr val="tx2"/>
                </a:solidFill>
                <a:cs typeface="Segoe UI"/>
              </a:rPr>
              <a:t> </a:t>
            </a:r>
            <a:endParaRPr lang="fr-fr" sz="2000" b="0" i="0" u="none" baseline="0" dirty="0">
              <a:solidFill>
                <a:schemeClr val="tx2"/>
              </a:solidFill>
              <a:cs typeface="Segoe UI"/>
            </a:endParaRPr>
          </a:p>
        </p:txBody>
      </p:sp>
      <p:sp>
        <p:nvSpPr>
          <p:cNvPr id="25" name="Rectangle 24">
            <a:extLst>
              <a:ext uri="{FF2B5EF4-FFF2-40B4-BE49-F238E27FC236}">
                <a16:creationId xmlns:a16="http://schemas.microsoft.com/office/drawing/2014/main" id="{E5125A00-3D78-43BB-80C1-73FF889956B0}"/>
              </a:ext>
            </a:extLst>
          </p:cNvPr>
          <p:cNvSpPr/>
          <p:nvPr/>
        </p:nvSpPr>
        <p:spPr bwMode="auto">
          <a:xfrm>
            <a:off x="8105530" y="3556000"/>
            <a:ext cx="3606410"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lvl="0" algn="l" defTabSz="950938" rtl="0">
              <a:defRPr/>
            </a:pPr>
            <a:r>
              <a:rPr lang="fr-fr" sz="2000" b="0" i="0" u="none" baseline="0" dirty="0">
                <a:solidFill>
                  <a:schemeClr val="tx1"/>
                </a:solidFill>
                <a:cs typeface="Segoe UI"/>
              </a:rPr>
              <a:t>En savoir plus sur l</a:t>
            </a:r>
            <a:r>
              <a:rPr lang="fr-FR" sz="2000" b="0" i="0" u="none" baseline="0" dirty="0">
                <a:solidFill>
                  <a:schemeClr val="tx1"/>
                </a:solidFill>
                <a:cs typeface="Segoe UI"/>
              </a:rPr>
              <a:t>’</a:t>
            </a:r>
            <a:r>
              <a:rPr lang="fr-fr" sz="2000" b="0" i="0" u="none" baseline="0" dirty="0">
                <a:solidFill>
                  <a:schemeClr val="tx1"/>
                </a:solidFill>
                <a:cs typeface="Segoe UI"/>
              </a:rPr>
              <a:t>apport </a:t>
            </a:r>
            <a:br>
              <a:rPr lang="fr-fr" sz="2000" b="0" i="0" u="none" baseline="0" dirty="0">
                <a:solidFill>
                  <a:schemeClr val="tx1"/>
                </a:solidFill>
                <a:cs typeface="Segoe UI"/>
              </a:rPr>
            </a:br>
            <a:r>
              <a:rPr lang="fr-fr" sz="2000" b="0" i="0" u="none" baseline="0" dirty="0">
                <a:solidFill>
                  <a:schemeClr val="tx1"/>
                </a:solidFill>
                <a:cs typeface="Segoe UI"/>
              </a:rPr>
              <a:t>de LinkedIn :</a:t>
            </a:r>
          </a:p>
          <a:p>
            <a:pPr defTabSz="950938">
              <a:defRPr/>
            </a:pPr>
            <a:r>
              <a:rPr lang="fr-fr" sz="2000" b="0" i="0" u="none" baseline="0" dirty="0">
                <a:solidFill>
                  <a:schemeClr val="tx2"/>
                </a:solidFill>
                <a:cs typeface="Segoe UI"/>
                <a:hlinkClick r:id="rId6">
                  <a:extLst>
                    <a:ext uri="{A12FA001-AC4F-418D-AE19-62706E023703}">
                      <ahyp:hlinkClr xmlns:ahyp="http://schemas.microsoft.com/office/drawing/2018/hyperlinkcolor" val="tx"/>
                    </a:ext>
                  </a:extLst>
                </a:hlinkClick>
              </a:rPr>
              <a:t>https://www.youtube.com/watch?v=MS3wFn_DRtY</a:t>
            </a:r>
            <a:r>
              <a:rPr lang="fr-fr" sz="2000" dirty="0">
                <a:solidFill>
                  <a:schemeClr val="tx2"/>
                </a:solidFill>
                <a:cs typeface="Segoe UI"/>
              </a:rPr>
              <a:t> </a:t>
            </a:r>
            <a:endParaRPr lang="fr-fr" sz="2000" b="0" i="0" u="none" baseline="0" dirty="0">
              <a:solidFill>
                <a:schemeClr val="tx2"/>
              </a:solidFill>
              <a:cs typeface="Segoe UI"/>
            </a:endParaRPr>
          </a:p>
        </p:txBody>
      </p:sp>
      <p:sp>
        <p:nvSpPr>
          <p:cNvPr id="26" name="Oval 25">
            <a:extLst>
              <a:ext uri="{FF2B5EF4-FFF2-40B4-BE49-F238E27FC236}">
                <a16:creationId xmlns:a16="http://schemas.microsoft.com/office/drawing/2014/main" id="{9F2C8ABC-B7FD-4C32-9196-C81746C7AB07}"/>
              </a:ext>
            </a:extLst>
          </p:cNvPr>
          <p:cNvSpPr/>
          <p:nvPr/>
        </p:nvSpPr>
        <p:spPr bwMode="auto">
          <a:xfrm>
            <a:off x="492790" y="1076837"/>
            <a:ext cx="185965" cy="18596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0490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750"/>
                                        <p:tgtEl>
                                          <p:spTgt spid="23"/>
                                        </p:tgtEl>
                                      </p:cBhvr>
                                    </p:animEffect>
                                    <p:anim calcmode="lin" valueType="num">
                                      <p:cBhvr>
                                        <p:cTn id="8" dur="750" fill="hold"/>
                                        <p:tgtEl>
                                          <p:spTgt spid="23"/>
                                        </p:tgtEl>
                                        <p:attrNameLst>
                                          <p:attrName>ppt_x</p:attrName>
                                        </p:attrNameLst>
                                      </p:cBhvr>
                                      <p:tavLst>
                                        <p:tav tm="0">
                                          <p:val>
                                            <p:strVal val="#ppt_x"/>
                                          </p:val>
                                        </p:tav>
                                        <p:tav tm="100000">
                                          <p:val>
                                            <p:strVal val="#ppt_x"/>
                                          </p:val>
                                        </p:tav>
                                      </p:tavLst>
                                    </p:anim>
                                    <p:anim calcmode="lin" valueType="num">
                                      <p:cBhvr>
                                        <p:cTn id="9" dur="750" fill="hold"/>
                                        <p:tgtEl>
                                          <p:spTgt spid="23"/>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grpId="0" nodeType="after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750"/>
                                        <p:tgtEl>
                                          <p:spTgt spid="24"/>
                                        </p:tgtEl>
                                      </p:cBhvr>
                                    </p:animEffect>
                                    <p:anim calcmode="lin" valueType="num">
                                      <p:cBhvr>
                                        <p:cTn id="14" dur="750" fill="hold"/>
                                        <p:tgtEl>
                                          <p:spTgt spid="24"/>
                                        </p:tgtEl>
                                        <p:attrNameLst>
                                          <p:attrName>ppt_x</p:attrName>
                                        </p:attrNameLst>
                                      </p:cBhvr>
                                      <p:tavLst>
                                        <p:tav tm="0">
                                          <p:val>
                                            <p:strVal val="#ppt_x"/>
                                          </p:val>
                                        </p:tav>
                                        <p:tav tm="100000">
                                          <p:val>
                                            <p:strVal val="#ppt_x"/>
                                          </p:val>
                                        </p:tav>
                                      </p:tavLst>
                                    </p:anim>
                                    <p:anim calcmode="lin" valueType="num">
                                      <p:cBhvr>
                                        <p:cTn id="15" dur="750" fill="hold"/>
                                        <p:tgtEl>
                                          <p:spTgt spid="24"/>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grpId="0"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750"/>
                                        <p:tgtEl>
                                          <p:spTgt spid="25"/>
                                        </p:tgtEl>
                                      </p:cBhvr>
                                    </p:animEffect>
                                    <p:anim calcmode="lin" valueType="num">
                                      <p:cBhvr>
                                        <p:cTn id="20" dur="750" fill="hold"/>
                                        <p:tgtEl>
                                          <p:spTgt spid="25"/>
                                        </p:tgtEl>
                                        <p:attrNameLst>
                                          <p:attrName>ppt_x</p:attrName>
                                        </p:attrNameLst>
                                      </p:cBhvr>
                                      <p:tavLst>
                                        <p:tav tm="0">
                                          <p:val>
                                            <p:strVal val="#ppt_x"/>
                                          </p:val>
                                        </p:tav>
                                        <p:tav tm="100000">
                                          <p:val>
                                            <p:strVal val="#ppt_x"/>
                                          </p:val>
                                        </p:tav>
                                      </p:tavLst>
                                    </p:anim>
                                    <p:anim calcmode="lin" valueType="num">
                                      <p:cBhvr>
                                        <p:cTn id="21" dur="75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64A4E6-3ADF-4330-B9ED-41343B65D763}"/>
              </a:ext>
            </a:extLst>
          </p:cNvPr>
          <p:cNvSpPr>
            <a:spLocks noGrp="1"/>
          </p:cNvSpPr>
          <p:nvPr>
            <p:ph type="title"/>
          </p:nvPr>
        </p:nvSpPr>
        <p:spPr/>
        <p:txBody>
          <a:bodyPr/>
          <a:lstStyle/>
          <a:p>
            <a:pPr algn="l" rtl="0"/>
            <a:r>
              <a:rPr lang="fr-fr" b="0" i="0" u="none" baseline="0"/>
              <a:t>Témoignages de clients</a:t>
            </a:r>
          </a:p>
        </p:txBody>
      </p:sp>
    </p:spTree>
    <p:extLst>
      <p:ext uri="{BB962C8B-B14F-4D97-AF65-F5344CB8AC3E}">
        <p14:creationId xmlns:p14="http://schemas.microsoft.com/office/powerpoint/2010/main" val="233959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82E1F91-25D3-4B80-8C3B-FB3283C3A995}"/>
              </a:ext>
            </a:extLst>
          </p:cNvPr>
          <p:cNvSpPr/>
          <p:nvPr/>
        </p:nvSpPr>
        <p:spPr bwMode="auto">
          <a:xfrm>
            <a:off x="0" y="0"/>
            <a:ext cx="475488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B2C1D3D-9B7C-45E1-92C3-E28374535B8F}"/>
              </a:ext>
            </a:extLst>
          </p:cNvPr>
          <p:cNvPicPr>
            <a:picLocks noChangeAspect="1"/>
          </p:cNvPicPr>
          <p:nvPr/>
        </p:nvPicPr>
        <p:blipFill rotWithShape="1">
          <a:blip r:embed="rId3"/>
          <a:srcRect l="61678" t="293" r="2074" b="124"/>
          <a:stretch/>
        </p:blipFill>
        <p:spPr>
          <a:xfrm>
            <a:off x="0" y="2"/>
            <a:ext cx="4526280" cy="6994525"/>
          </a:xfrm>
          <a:custGeom>
            <a:avLst/>
            <a:gdLst>
              <a:gd name="connsiteX0" fmla="*/ 0 w 4267200"/>
              <a:gd name="connsiteY0" fmla="*/ 0 h 6994525"/>
              <a:gd name="connsiteX1" fmla="*/ 4267200 w 4267200"/>
              <a:gd name="connsiteY1" fmla="*/ 0 h 6994525"/>
              <a:gd name="connsiteX2" fmla="*/ 4267200 w 4267200"/>
              <a:gd name="connsiteY2" fmla="*/ 6994525 h 6994525"/>
              <a:gd name="connsiteX3" fmla="*/ 0 w 426720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4267200" h="6994525">
                <a:moveTo>
                  <a:pt x="0" y="0"/>
                </a:moveTo>
                <a:lnTo>
                  <a:pt x="4267200" y="0"/>
                </a:lnTo>
                <a:lnTo>
                  <a:pt x="4267200" y="6994525"/>
                </a:lnTo>
                <a:lnTo>
                  <a:pt x="0" y="6994525"/>
                </a:lnTo>
                <a:close/>
              </a:path>
            </a:pathLst>
          </a:custGeom>
        </p:spPr>
      </p:pic>
      <p:sp>
        <p:nvSpPr>
          <p:cNvPr id="5" name="Rectangle 4">
            <a:extLst>
              <a:ext uri="{FF2B5EF4-FFF2-40B4-BE49-F238E27FC236}">
                <a16:creationId xmlns:a16="http://schemas.microsoft.com/office/drawing/2014/main" id="{044D14B0-A360-41F9-A85E-5E9453E9D8C4}"/>
              </a:ext>
            </a:extLst>
          </p:cNvPr>
          <p:cNvSpPr/>
          <p:nvPr/>
        </p:nvSpPr>
        <p:spPr bwMode="auto">
          <a:xfrm>
            <a:off x="11609389" y="2567622"/>
            <a:ext cx="827086" cy="1859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B4CC33AB-69B1-4136-8F5F-384DB1839CE0}"/>
              </a:ext>
            </a:extLst>
          </p:cNvPr>
          <p:cNvPicPr>
            <a:picLocks noChangeAspect="1"/>
          </p:cNvPicPr>
          <p:nvPr/>
        </p:nvPicPr>
        <p:blipFill rotWithShape="1">
          <a:blip r:embed="rId4"/>
          <a:srcRect l="70198" t="271" r="172"/>
          <a:stretch/>
        </p:blipFill>
        <p:spPr>
          <a:xfrm flipH="1">
            <a:off x="0" y="1"/>
            <a:ext cx="4526280" cy="6994525"/>
          </a:xfrm>
          <a:custGeom>
            <a:avLst/>
            <a:gdLst>
              <a:gd name="connsiteX0" fmla="*/ 4267200 w 4267200"/>
              <a:gd name="connsiteY0" fmla="*/ 0 h 6994525"/>
              <a:gd name="connsiteX1" fmla="*/ 0 w 4267200"/>
              <a:gd name="connsiteY1" fmla="*/ 0 h 6994525"/>
              <a:gd name="connsiteX2" fmla="*/ 0 w 4267200"/>
              <a:gd name="connsiteY2" fmla="*/ 6994525 h 6994525"/>
              <a:gd name="connsiteX3" fmla="*/ 4267200 w 426720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4267200" h="6994525">
                <a:moveTo>
                  <a:pt x="4267200" y="0"/>
                </a:moveTo>
                <a:lnTo>
                  <a:pt x="0" y="0"/>
                </a:lnTo>
                <a:lnTo>
                  <a:pt x="0" y="6994525"/>
                </a:lnTo>
                <a:lnTo>
                  <a:pt x="4267200" y="6994525"/>
                </a:lnTo>
                <a:close/>
              </a:path>
            </a:pathLst>
          </a:custGeom>
        </p:spPr>
      </p:pic>
      <p:sp>
        <p:nvSpPr>
          <p:cNvPr id="20" name="Rectangle 19">
            <a:extLst>
              <a:ext uri="{FF2B5EF4-FFF2-40B4-BE49-F238E27FC236}">
                <a16:creationId xmlns:a16="http://schemas.microsoft.com/office/drawing/2014/main" id="{EAC39767-C36C-4163-AFE8-8190973B0F39}"/>
              </a:ext>
            </a:extLst>
          </p:cNvPr>
          <p:cNvSpPr/>
          <p:nvPr/>
        </p:nvSpPr>
        <p:spPr>
          <a:xfrm>
            <a:off x="4907278" y="1073207"/>
            <a:ext cx="6522720" cy="2000548"/>
          </a:xfrm>
          <a:prstGeom prst="rect">
            <a:avLst/>
          </a:prstGeom>
        </p:spPr>
        <p:txBody>
          <a:bodyPr wrap="square" lIns="0" tIns="0" rIns="0" bIns="0" anchor="t">
            <a:spAutoFit/>
          </a:bodyPr>
          <a:lstStyle/>
          <a:p>
            <a:pPr lvl="0" defTabSz="914400">
              <a:defRPr/>
            </a:pPr>
            <a:r>
              <a:rPr lang="fr-fr" sz="2600" b="0" i="0" u="none" kern="0" spc="-50" baseline="0" dirty="0">
                <a:latin typeface="Segoe UI Semibold"/>
                <a:cs typeface="Segoe UI Semibold"/>
              </a:rPr>
              <a:t>« Nous constatons mois après mois une multiplication par 10 de la contribution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de LinkedIn et Dynamics 365 à notre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pipeline commercial. On peut qualifier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cela de véritable croissance exponentielle</a:t>
            </a:r>
            <a:r>
              <a:rPr lang="fr-fr" sz="2600" kern="0" spc="-50" dirty="0">
                <a:latin typeface="Segoe UI Semibold"/>
                <a:cs typeface="Segoe UI Semibold"/>
              </a:rPr>
              <a:t>. »</a:t>
            </a:r>
          </a:p>
        </p:txBody>
      </p:sp>
      <p:cxnSp>
        <p:nvCxnSpPr>
          <p:cNvPr id="8" name="Straight Connector 7">
            <a:extLst>
              <a:ext uri="{FF2B5EF4-FFF2-40B4-BE49-F238E27FC236}">
                <a16:creationId xmlns:a16="http://schemas.microsoft.com/office/drawing/2014/main" id="{24EAD59B-6158-4BBF-A4E9-C622893DBBAE}"/>
              </a:ext>
            </a:extLst>
          </p:cNvPr>
          <p:cNvCxnSpPr>
            <a:cxnSpLocks/>
          </p:cNvCxnSpPr>
          <p:nvPr/>
        </p:nvCxnSpPr>
        <p:spPr>
          <a:xfrm>
            <a:off x="9784080" y="6184392"/>
            <a:ext cx="1825309"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98CE023-3DFA-40B3-8BAB-B1D7143AC27D}"/>
              </a:ext>
            </a:extLst>
          </p:cNvPr>
          <p:cNvSpPr/>
          <p:nvPr/>
        </p:nvSpPr>
        <p:spPr bwMode="auto">
          <a:xfrm>
            <a:off x="4612639" y="941388"/>
            <a:ext cx="6996749" cy="51117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8911E76D-2E01-4043-93EC-FF38816591C0}"/>
              </a:ext>
            </a:extLst>
          </p:cNvPr>
          <p:cNvSpPr/>
          <p:nvPr/>
        </p:nvSpPr>
        <p:spPr>
          <a:xfrm>
            <a:off x="8157050" y="5145247"/>
            <a:ext cx="3272950" cy="738664"/>
          </a:xfrm>
          <a:prstGeom prst="rect">
            <a:avLst/>
          </a:prstGeom>
        </p:spPr>
        <p:txBody>
          <a:bodyPr wrap="square" lIns="0" tIns="0" rIns="0" bIns="0" anchor="b">
            <a:spAutoFit/>
          </a:bodyPr>
          <a:lstStyle/>
          <a:p>
            <a:pPr algn="r" defTabSz="932004" rtl="0">
              <a:spcAft>
                <a:spcPts val="600"/>
              </a:spcAft>
              <a:defRPr/>
            </a:pPr>
            <a:r>
              <a:rPr lang="fr-fr" sz="2000" b="0" i="0" u="none" baseline="0" dirty="0" err="1">
                <a:solidFill>
                  <a:schemeClr val="tx2"/>
                </a:solidFill>
                <a:latin typeface="+mj-lt"/>
              </a:rPr>
              <a:t>Fikri</a:t>
            </a:r>
            <a:r>
              <a:rPr lang="fr-fr" sz="2000" b="0" i="0" u="none" baseline="0" dirty="0">
                <a:solidFill>
                  <a:schemeClr val="tx2"/>
                </a:solidFill>
                <a:latin typeface="+mj-lt"/>
              </a:rPr>
              <a:t> </a:t>
            </a:r>
            <a:r>
              <a:rPr lang="fr-fr" sz="2000" b="0" i="0" u="none" baseline="0" dirty="0" err="1">
                <a:solidFill>
                  <a:schemeClr val="tx2"/>
                </a:solidFill>
                <a:latin typeface="+mj-lt"/>
              </a:rPr>
              <a:t>Larguet</a:t>
            </a:r>
            <a:br>
              <a:rPr lang="fr-fr" sz="1800" dirty="0">
                <a:latin typeface="Segoe UI Semibold"/>
                <a:cs typeface="Segoe UI Semilight" panose="020B0402040204020203" pitchFamily="34" charset="0"/>
              </a:rPr>
            </a:br>
            <a:r>
              <a:rPr lang="fr-fr" sz="1400" b="0" i="0" u="none" baseline="0" dirty="0">
                <a:solidFill>
                  <a:schemeClr val="tx2"/>
                </a:solidFill>
              </a:rPr>
              <a:t>Vice </a:t>
            </a:r>
            <a:r>
              <a:rPr lang="fr-fr" sz="1400" b="0" i="0" u="none" baseline="0" dirty="0" err="1">
                <a:solidFill>
                  <a:schemeClr val="tx2"/>
                </a:solidFill>
              </a:rPr>
              <a:t>President</a:t>
            </a:r>
            <a:r>
              <a:rPr lang="fr-fr" sz="1400" b="0" i="0" u="none" baseline="0" dirty="0">
                <a:solidFill>
                  <a:schemeClr val="tx2"/>
                </a:solidFill>
              </a:rPr>
              <a:t> of WW Digital Automation and Channel Operations</a:t>
            </a:r>
            <a:endParaRPr lang="fr-fr" sz="1400" b="0" i="0" u="none" baseline="0" dirty="0">
              <a:solidFill>
                <a:schemeClr val="tx2"/>
              </a:solidFill>
              <a:cs typeface="Segoe UI"/>
            </a:endParaRPr>
          </a:p>
        </p:txBody>
      </p:sp>
      <p:pic>
        <p:nvPicPr>
          <p:cNvPr id="27" name="Picture 26">
            <a:extLst>
              <a:ext uri="{FF2B5EF4-FFF2-40B4-BE49-F238E27FC236}">
                <a16:creationId xmlns:a16="http://schemas.microsoft.com/office/drawing/2014/main" id="{7DECF1FD-D1D1-44B9-9CBF-0C9D888DAF2C}"/>
              </a:ext>
            </a:extLst>
          </p:cNvPr>
          <p:cNvPicPr>
            <a:picLocks noChangeAspect="1"/>
          </p:cNvPicPr>
          <p:nvPr/>
        </p:nvPicPr>
        <p:blipFill>
          <a:blip r:embed="rId5"/>
          <a:stretch>
            <a:fillRect/>
          </a:stretch>
        </p:blipFill>
        <p:spPr>
          <a:xfrm>
            <a:off x="4976051" y="5061585"/>
            <a:ext cx="830301" cy="827156"/>
          </a:xfrm>
          <a:prstGeom prst="rect">
            <a:avLst/>
          </a:prstGeom>
        </p:spPr>
      </p:pic>
    </p:spTree>
    <p:extLst>
      <p:ext uri="{BB962C8B-B14F-4D97-AF65-F5344CB8AC3E}">
        <p14:creationId xmlns:p14="http://schemas.microsoft.com/office/powerpoint/2010/main" val="393117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44D14B0-A360-41F9-A85E-5E9453E9D8C4}"/>
              </a:ext>
            </a:extLst>
          </p:cNvPr>
          <p:cNvSpPr/>
          <p:nvPr/>
        </p:nvSpPr>
        <p:spPr bwMode="auto">
          <a:xfrm>
            <a:off x="11609389" y="2567622"/>
            <a:ext cx="827086" cy="1859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B52D58A4-387A-46EA-B65F-932A6A70B71A}"/>
              </a:ext>
            </a:extLst>
          </p:cNvPr>
          <p:cNvSpPr/>
          <p:nvPr/>
        </p:nvSpPr>
        <p:spPr bwMode="auto">
          <a:xfrm>
            <a:off x="0" y="0"/>
            <a:ext cx="475488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340DE840-E048-49A4-B02E-22A85DBDFADD}"/>
              </a:ext>
            </a:extLst>
          </p:cNvPr>
          <p:cNvSpPr/>
          <p:nvPr/>
        </p:nvSpPr>
        <p:spPr bwMode="auto">
          <a:xfrm>
            <a:off x="4612639" y="941388"/>
            <a:ext cx="6996749" cy="51117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AC39767-C36C-4163-AFE8-8190973B0F39}"/>
              </a:ext>
            </a:extLst>
          </p:cNvPr>
          <p:cNvSpPr/>
          <p:nvPr/>
        </p:nvSpPr>
        <p:spPr>
          <a:xfrm>
            <a:off x="4907280" y="1073207"/>
            <a:ext cx="6522720" cy="2000548"/>
          </a:xfrm>
          <a:prstGeom prst="rect">
            <a:avLst/>
          </a:prstGeom>
        </p:spPr>
        <p:txBody>
          <a:bodyPr wrap="square" lIns="0" tIns="0" rIns="0" bIns="0" anchor="t">
            <a:spAutoFit/>
          </a:bodyPr>
          <a:lstStyle/>
          <a:p>
            <a:pPr lvl="0" algn="l" defTabSz="914400" rtl="0">
              <a:defRPr/>
            </a:pPr>
            <a:r>
              <a:rPr lang="fr-fr" sz="2600" b="0" i="0" u="none" kern="0" spc="-50" baseline="0" dirty="0">
                <a:latin typeface="Segoe UI Semibold"/>
                <a:cs typeface="Segoe UI Semibold"/>
              </a:rPr>
              <a:t>« Les informations que nous générons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dans Dynamics 365 nous apportent beaucoup, chaque commercial dispose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de connaissances précises sur les attentes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et les besoins des clients. »</a:t>
            </a:r>
          </a:p>
        </p:txBody>
      </p:sp>
      <p:sp>
        <p:nvSpPr>
          <p:cNvPr id="22" name="Rectangle 21">
            <a:extLst>
              <a:ext uri="{FF2B5EF4-FFF2-40B4-BE49-F238E27FC236}">
                <a16:creationId xmlns:a16="http://schemas.microsoft.com/office/drawing/2014/main" id="{793D4A78-0C36-4B71-A64A-4741E9E82647}"/>
              </a:ext>
            </a:extLst>
          </p:cNvPr>
          <p:cNvSpPr/>
          <p:nvPr/>
        </p:nvSpPr>
        <p:spPr>
          <a:xfrm>
            <a:off x="8157050" y="5360691"/>
            <a:ext cx="3272950" cy="523220"/>
          </a:xfrm>
          <a:prstGeom prst="rect">
            <a:avLst/>
          </a:prstGeom>
        </p:spPr>
        <p:txBody>
          <a:bodyPr wrap="square" lIns="0" tIns="0" rIns="0" bIns="0" anchor="b">
            <a:spAutoFit/>
          </a:bodyPr>
          <a:lstStyle/>
          <a:p>
            <a:pPr lvl="0" algn="r" defTabSz="932004" rtl="0">
              <a:spcAft>
                <a:spcPts val="600"/>
              </a:spcAft>
              <a:defRPr/>
            </a:pPr>
            <a:r>
              <a:rPr lang="fr-fr" sz="2000" b="0" i="0" u="none" baseline="0" dirty="0">
                <a:solidFill>
                  <a:srgbClr val="243A5E"/>
                </a:solidFill>
                <a:latin typeface="Segoe UI Semibold"/>
              </a:rPr>
              <a:t>Daniel </a:t>
            </a:r>
            <a:r>
              <a:rPr lang="fr-fr" sz="2000" b="0" i="0" u="none" baseline="0" dirty="0" err="1">
                <a:solidFill>
                  <a:srgbClr val="243A5E"/>
                </a:solidFill>
                <a:latin typeface="Segoe UI Semibold"/>
              </a:rPr>
              <a:t>Ziriakus</a:t>
            </a:r>
            <a:br>
              <a:rPr lang="fr-fr" sz="1800" dirty="0">
                <a:latin typeface="Segoe UI Semibold"/>
                <a:cs typeface="Segoe UI Semilight" panose="020B0402040204020203" pitchFamily="34" charset="0"/>
              </a:rPr>
            </a:br>
            <a:r>
              <a:rPr lang="fr-fr" sz="1400" b="0" i="0" u="none" baseline="0" dirty="0">
                <a:solidFill>
                  <a:srgbClr val="243A5E"/>
                </a:solidFill>
              </a:rPr>
              <a:t>Chief Operating </a:t>
            </a:r>
            <a:r>
              <a:rPr lang="fr-fr" sz="1400" b="0" i="0" u="none" baseline="0" dirty="0" err="1">
                <a:solidFill>
                  <a:srgbClr val="243A5E"/>
                </a:solidFill>
              </a:rPr>
              <a:t>Officer</a:t>
            </a:r>
            <a:endParaRPr lang="fr-fr" sz="1400" b="0" i="0" u="none" baseline="0" dirty="0" err="1">
              <a:solidFill>
                <a:srgbClr val="243A5E"/>
              </a:solidFill>
              <a:cs typeface="Segoe UI"/>
            </a:endParaRPr>
          </a:p>
        </p:txBody>
      </p:sp>
      <p:cxnSp>
        <p:nvCxnSpPr>
          <p:cNvPr id="8" name="Straight Connector 7">
            <a:extLst>
              <a:ext uri="{FF2B5EF4-FFF2-40B4-BE49-F238E27FC236}">
                <a16:creationId xmlns:a16="http://schemas.microsoft.com/office/drawing/2014/main" id="{24EAD59B-6158-4BBF-A4E9-C622893DBBAE}"/>
              </a:ext>
            </a:extLst>
          </p:cNvPr>
          <p:cNvCxnSpPr>
            <a:cxnSpLocks/>
          </p:cNvCxnSpPr>
          <p:nvPr/>
        </p:nvCxnSpPr>
        <p:spPr>
          <a:xfrm>
            <a:off x="9784080" y="6184392"/>
            <a:ext cx="1825309"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011E2A97-2BF0-49E6-BA0C-B6A8633C5FDD}"/>
              </a:ext>
            </a:extLst>
          </p:cNvPr>
          <p:cNvPicPr>
            <a:picLocks noChangeAspect="1"/>
          </p:cNvPicPr>
          <p:nvPr/>
        </p:nvPicPr>
        <p:blipFill rotWithShape="1">
          <a:blip r:embed="rId3"/>
          <a:srcRect l="61678" t="293" r="2074" b="124"/>
          <a:stretch/>
        </p:blipFill>
        <p:spPr>
          <a:xfrm>
            <a:off x="0" y="2"/>
            <a:ext cx="4526280" cy="6994525"/>
          </a:xfrm>
          <a:custGeom>
            <a:avLst/>
            <a:gdLst>
              <a:gd name="connsiteX0" fmla="*/ 0 w 4267200"/>
              <a:gd name="connsiteY0" fmla="*/ 0 h 6994525"/>
              <a:gd name="connsiteX1" fmla="*/ 4267200 w 4267200"/>
              <a:gd name="connsiteY1" fmla="*/ 0 h 6994525"/>
              <a:gd name="connsiteX2" fmla="*/ 4267200 w 4267200"/>
              <a:gd name="connsiteY2" fmla="*/ 6994525 h 6994525"/>
              <a:gd name="connsiteX3" fmla="*/ 0 w 426720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4267200" h="6994525">
                <a:moveTo>
                  <a:pt x="0" y="0"/>
                </a:moveTo>
                <a:lnTo>
                  <a:pt x="4267200" y="0"/>
                </a:lnTo>
                <a:lnTo>
                  <a:pt x="4267200" y="6994525"/>
                </a:lnTo>
                <a:lnTo>
                  <a:pt x="0" y="6994525"/>
                </a:lnTo>
                <a:close/>
              </a:path>
            </a:pathLst>
          </a:custGeom>
        </p:spPr>
      </p:pic>
      <p:pic>
        <p:nvPicPr>
          <p:cNvPr id="13" name="Picture 12" descr="A picture containing drawing, window&#10;&#10;Description automatically generated">
            <a:extLst>
              <a:ext uri="{FF2B5EF4-FFF2-40B4-BE49-F238E27FC236}">
                <a16:creationId xmlns:a16="http://schemas.microsoft.com/office/drawing/2014/main" id="{10843B23-CD1A-410C-AA32-32C61183555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76051" y="5178390"/>
            <a:ext cx="2003190" cy="710351"/>
          </a:xfrm>
          <a:prstGeom prst="rect">
            <a:avLst/>
          </a:prstGeom>
        </p:spPr>
      </p:pic>
    </p:spTree>
    <p:extLst>
      <p:ext uri="{BB962C8B-B14F-4D97-AF65-F5344CB8AC3E}">
        <p14:creationId xmlns:p14="http://schemas.microsoft.com/office/powerpoint/2010/main" val="373845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DAEDC46-FBFC-4DAC-B30D-5688E8115AF4}"/>
              </a:ext>
            </a:extLst>
          </p:cNvPr>
          <p:cNvSpPr/>
          <p:nvPr/>
        </p:nvSpPr>
        <p:spPr bwMode="auto">
          <a:xfrm>
            <a:off x="11609389" y="2567622"/>
            <a:ext cx="827086" cy="1859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F759F2B3-0F8F-4071-A4B9-25DA99286CC1}"/>
              </a:ext>
            </a:extLst>
          </p:cNvPr>
          <p:cNvSpPr/>
          <p:nvPr/>
        </p:nvSpPr>
        <p:spPr bwMode="auto">
          <a:xfrm>
            <a:off x="0" y="0"/>
            <a:ext cx="475488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4E3DCEFE-BC6C-43F7-8B62-E796014E490B}"/>
              </a:ext>
            </a:extLst>
          </p:cNvPr>
          <p:cNvSpPr/>
          <p:nvPr/>
        </p:nvSpPr>
        <p:spPr bwMode="auto">
          <a:xfrm>
            <a:off x="4612639" y="941388"/>
            <a:ext cx="6996749" cy="51117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B1B51179-1609-4ACB-99CC-D0C6E8C69D50}"/>
              </a:ext>
            </a:extLst>
          </p:cNvPr>
          <p:cNvSpPr/>
          <p:nvPr/>
        </p:nvSpPr>
        <p:spPr>
          <a:xfrm>
            <a:off x="4907280" y="1073207"/>
            <a:ext cx="6522720" cy="3600986"/>
          </a:xfrm>
          <a:prstGeom prst="rect">
            <a:avLst/>
          </a:prstGeom>
        </p:spPr>
        <p:txBody>
          <a:bodyPr wrap="square" lIns="0" tIns="0" rIns="0" bIns="0" anchor="t">
            <a:spAutoFit/>
          </a:bodyPr>
          <a:lstStyle/>
          <a:p>
            <a:pPr lvl="0" algn="l" defTabSz="914400" rtl="0">
              <a:defRPr/>
            </a:pPr>
            <a:r>
              <a:rPr lang="fr-fr" sz="2600" b="0" i="0" u="none" kern="0" spc="-50" baseline="0" dirty="0">
                <a:latin typeface="Segoe UI Semibold"/>
                <a:cs typeface="Segoe UI Semibold"/>
              </a:rPr>
              <a:t>« De la communication avec notre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service juridique et notre chaîne d</a:t>
            </a:r>
            <a:r>
              <a:rPr lang="fr-FR" sz="2600" b="0" i="0" u="none" kern="0" spc="-50" baseline="0" dirty="0">
                <a:latin typeface="Segoe UI Semibold"/>
                <a:cs typeface="Segoe UI Semibold"/>
              </a:rPr>
              <a:t>’</a:t>
            </a:r>
            <a:r>
              <a:rPr lang="fr-fr" sz="2600" b="0" i="0" u="none" kern="0" spc="-50" baseline="0" dirty="0">
                <a:latin typeface="Segoe UI Semibold"/>
                <a:cs typeface="Segoe UI Semibold"/>
              </a:rPr>
              <a:t>approvisionnement à la formation,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en passant par la </a:t>
            </a:r>
            <a:r>
              <a:rPr lang="fr-fr" sz="2600" b="0" i="0" u="none" kern="0" spc="-50" baseline="0" dirty="0" err="1">
                <a:latin typeface="Segoe UI Semibold"/>
                <a:cs typeface="Segoe UI Semibold"/>
              </a:rPr>
              <a:t>co-création</a:t>
            </a:r>
            <a:r>
              <a:rPr lang="fr-fr" sz="2600" b="0" i="0" u="none" kern="0" spc="-50" baseline="0" dirty="0">
                <a:latin typeface="Segoe UI Semibold"/>
                <a:cs typeface="Segoe UI Semibold"/>
              </a:rPr>
              <a:t> de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contenus marketing ou la réalisation et l</a:t>
            </a:r>
            <a:r>
              <a:rPr lang="fr-FR" sz="2600" b="0" i="0" u="none" kern="0" spc="-50" baseline="0" dirty="0">
                <a:latin typeface="Segoe UI Semibold"/>
                <a:cs typeface="Segoe UI Semibold"/>
              </a:rPr>
              <a:t>’</a:t>
            </a:r>
            <a:r>
              <a:rPr lang="fr-fr" sz="2600" b="0" i="0" u="none" kern="0" spc="-50" baseline="0" dirty="0">
                <a:latin typeface="Segoe UI Semibold"/>
                <a:cs typeface="Segoe UI Semibold"/>
              </a:rPr>
              <a:t>enregistrement d</a:t>
            </a:r>
            <a:r>
              <a:rPr lang="fr-FR" sz="2600" b="0" i="0" u="none" kern="0" spc="-50" baseline="0" dirty="0">
                <a:latin typeface="Segoe UI Semibold"/>
                <a:cs typeface="Segoe UI Semibold"/>
              </a:rPr>
              <a:t>’</a:t>
            </a:r>
            <a:r>
              <a:rPr lang="fr-fr" sz="2600" b="0" i="0" u="none" kern="0" spc="-50" baseline="0" dirty="0">
                <a:latin typeface="Segoe UI Semibold"/>
                <a:cs typeface="Segoe UI Semibold"/>
              </a:rPr>
              <a:t>appels vidéo, Teams </a:t>
            </a:r>
            <a:br>
              <a:rPr lang="fr-fr" sz="2600" b="0" i="0" u="none" kern="0" spc="-50" baseline="0" dirty="0">
                <a:latin typeface="Segoe UI Semibold" panose="020B0702040204020203" pitchFamily="34" charset="0"/>
                <a:cs typeface="Segoe UI Semibold" panose="020B0702040204020203" pitchFamily="34" charset="0"/>
              </a:rPr>
            </a:br>
            <a:r>
              <a:rPr lang="fr-fr" sz="2600" b="0" i="0" u="none" kern="0" spc="-50" baseline="0" dirty="0">
                <a:latin typeface="Segoe UI Semibold"/>
                <a:cs typeface="Segoe UI Semibold"/>
              </a:rPr>
              <a:t>est une plateforme idéale pour accroître l</a:t>
            </a:r>
            <a:r>
              <a:rPr lang="fr-FR" sz="2600" b="0" i="0" u="none" kern="0" spc="-50" baseline="0" dirty="0">
                <a:latin typeface="Segoe UI Semibold"/>
                <a:cs typeface="Segoe UI Semibold"/>
              </a:rPr>
              <a:t>’</a:t>
            </a:r>
            <a:r>
              <a:rPr lang="fr-fr" sz="2600" b="0" i="0" u="none" kern="0" spc="-50" baseline="0" dirty="0">
                <a:latin typeface="Segoe UI Semibold"/>
                <a:cs typeface="Segoe UI Semibold"/>
              </a:rPr>
              <a:t>efficacité des projets, car la communication virtuelle est d</a:t>
            </a:r>
            <a:r>
              <a:rPr lang="fr-FR" sz="2600" b="0" i="0" u="none" kern="0" spc="-50" baseline="0" dirty="0">
                <a:latin typeface="Segoe UI Semibold"/>
                <a:cs typeface="Segoe UI Semibold"/>
              </a:rPr>
              <a:t>’</a:t>
            </a:r>
            <a:r>
              <a:rPr lang="fr-fr" sz="2600" b="0" i="0" u="none" kern="0" spc="-50" baseline="0" dirty="0">
                <a:latin typeface="Segoe UI Semibold"/>
                <a:cs typeface="Segoe UI Semibold"/>
              </a:rPr>
              <a:t>une simplicité folle. »</a:t>
            </a:r>
          </a:p>
        </p:txBody>
      </p:sp>
      <p:sp>
        <p:nvSpPr>
          <p:cNvPr id="21" name="Rectangle 20">
            <a:extLst>
              <a:ext uri="{FF2B5EF4-FFF2-40B4-BE49-F238E27FC236}">
                <a16:creationId xmlns:a16="http://schemas.microsoft.com/office/drawing/2014/main" id="{A0E15835-B995-497D-AD70-38CD9F91AFE4}"/>
              </a:ext>
            </a:extLst>
          </p:cNvPr>
          <p:cNvSpPr/>
          <p:nvPr/>
        </p:nvSpPr>
        <p:spPr>
          <a:xfrm>
            <a:off x="8157050" y="5360691"/>
            <a:ext cx="3272950" cy="523220"/>
          </a:xfrm>
          <a:prstGeom prst="rect">
            <a:avLst/>
          </a:prstGeom>
        </p:spPr>
        <p:txBody>
          <a:bodyPr wrap="square" lIns="0" tIns="0" rIns="0" bIns="0" anchor="b">
            <a:spAutoFit/>
          </a:bodyPr>
          <a:lstStyle/>
          <a:p>
            <a:pPr lvl="0" algn="r" defTabSz="932004" rtl="0">
              <a:spcAft>
                <a:spcPts val="600"/>
              </a:spcAft>
              <a:defRPr/>
            </a:pPr>
            <a:r>
              <a:rPr lang="fr-fr" sz="2000" b="0" i="0" u="none" baseline="0" dirty="0">
                <a:solidFill>
                  <a:srgbClr val="243A5E"/>
                </a:solidFill>
                <a:latin typeface="Segoe UI Semibold"/>
              </a:rPr>
              <a:t>Sven </a:t>
            </a:r>
            <a:r>
              <a:rPr lang="fr-fr" sz="2000" b="0" i="0" u="none" baseline="0" dirty="0" err="1">
                <a:solidFill>
                  <a:srgbClr val="243A5E"/>
                </a:solidFill>
                <a:latin typeface="Segoe UI Semibold"/>
              </a:rPr>
              <a:t>Dellagnolo</a:t>
            </a:r>
            <a:br>
              <a:rPr lang="fr-fr" sz="1800" dirty="0">
                <a:latin typeface="Segoe UI Semibold"/>
                <a:cs typeface="Segoe UI Semilight" panose="020B0402040204020203" pitchFamily="34" charset="0"/>
              </a:rPr>
            </a:br>
            <a:r>
              <a:rPr lang="fr-fr" sz="1400" b="0" i="0" u="none" baseline="0" dirty="0" err="1">
                <a:solidFill>
                  <a:srgbClr val="243A5E"/>
                </a:solidFill>
              </a:rPr>
              <a:t>Director</a:t>
            </a:r>
            <a:r>
              <a:rPr lang="fr-fr" sz="1400" b="0" i="0" u="none" baseline="0" dirty="0">
                <a:solidFill>
                  <a:srgbClr val="243A5E"/>
                </a:solidFill>
              </a:rPr>
              <a:t> of Global Sales </a:t>
            </a:r>
            <a:r>
              <a:rPr lang="fr-fr" sz="1400" b="0" i="0" u="none" baseline="0" dirty="0" err="1">
                <a:solidFill>
                  <a:srgbClr val="243A5E"/>
                </a:solidFill>
              </a:rPr>
              <a:t>Enablement</a:t>
            </a:r>
            <a:endParaRPr lang="fr-fr" sz="1400" b="0" i="0" u="none" baseline="0" dirty="0" err="1">
              <a:solidFill>
                <a:srgbClr val="243A5E"/>
              </a:solidFill>
              <a:cs typeface="Segoe UI"/>
            </a:endParaRPr>
          </a:p>
        </p:txBody>
      </p:sp>
      <p:cxnSp>
        <p:nvCxnSpPr>
          <p:cNvPr id="22" name="Straight Connector 21">
            <a:extLst>
              <a:ext uri="{FF2B5EF4-FFF2-40B4-BE49-F238E27FC236}">
                <a16:creationId xmlns:a16="http://schemas.microsoft.com/office/drawing/2014/main" id="{A55BD9E8-F4FA-479E-9791-1ED61DEFE7EE}"/>
              </a:ext>
            </a:extLst>
          </p:cNvPr>
          <p:cNvCxnSpPr>
            <a:cxnSpLocks/>
          </p:cNvCxnSpPr>
          <p:nvPr/>
        </p:nvCxnSpPr>
        <p:spPr>
          <a:xfrm>
            <a:off x="9784080" y="6184392"/>
            <a:ext cx="1825309"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5" name="Graphic 24">
            <a:extLst>
              <a:ext uri="{FF2B5EF4-FFF2-40B4-BE49-F238E27FC236}">
                <a16:creationId xmlns:a16="http://schemas.microsoft.com/office/drawing/2014/main" id="{03293AEB-6920-430A-BBFB-884DDA284E8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76051" y="5485430"/>
            <a:ext cx="2045364" cy="403311"/>
          </a:xfrm>
          <a:prstGeom prst="rect">
            <a:avLst/>
          </a:prstGeom>
        </p:spPr>
      </p:pic>
      <p:pic>
        <p:nvPicPr>
          <p:cNvPr id="27" name="Picture 26">
            <a:extLst>
              <a:ext uri="{FF2B5EF4-FFF2-40B4-BE49-F238E27FC236}">
                <a16:creationId xmlns:a16="http://schemas.microsoft.com/office/drawing/2014/main" id="{0192B9A9-C2B1-4AE0-B43F-6FF884B105CA}"/>
              </a:ext>
            </a:extLst>
          </p:cNvPr>
          <p:cNvPicPr>
            <a:picLocks noChangeAspect="1"/>
          </p:cNvPicPr>
          <p:nvPr/>
        </p:nvPicPr>
        <p:blipFill rotWithShape="1">
          <a:blip r:embed="rId5"/>
          <a:srcRect l="52147" t="2" r="11451" b="-2"/>
          <a:stretch/>
        </p:blipFill>
        <p:spPr>
          <a:xfrm>
            <a:off x="0" y="3"/>
            <a:ext cx="4526280" cy="6994525"/>
          </a:xfrm>
          <a:custGeom>
            <a:avLst/>
            <a:gdLst>
              <a:gd name="connsiteX0" fmla="*/ 0 w 4526280"/>
              <a:gd name="connsiteY0" fmla="*/ 0 h 6994525"/>
              <a:gd name="connsiteX1" fmla="*/ 4526280 w 4526280"/>
              <a:gd name="connsiteY1" fmla="*/ 0 h 6994525"/>
              <a:gd name="connsiteX2" fmla="*/ 4526280 w 4526280"/>
              <a:gd name="connsiteY2" fmla="*/ 6994525 h 6994525"/>
              <a:gd name="connsiteX3" fmla="*/ 0 w 452628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4526280" h="6994525">
                <a:moveTo>
                  <a:pt x="0" y="0"/>
                </a:moveTo>
                <a:lnTo>
                  <a:pt x="4526280" y="0"/>
                </a:lnTo>
                <a:lnTo>
                  <a:pt x="4526280" y="6994525"/>
                </a:lnTo>
                <a:lnTo>
                  <a:pt x="0" y="6994525"/>
                </a:lnTo>
                <a:close/>
              </a:path>
            </a:pathLst>
          </a:custGeom>
        </p:spPr>
      </p:pic>
    </p:spTree>
    <p:extLst>
      <p:ext uri="{BB962C8B-B14F-4D97-AF65-F5344CB8AC3E}">
        <p14:creationId xmlns:p14="http://schemas.microsoft.com/office/powerpoint/2010/main" val="332523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F84522F-AEF8-4FBA-A436-59F61D7AA1BA}"/>
              </a:ext>
            </a:extLst>
          </p:cNvPr>
          <p:cNvSpPr/>
          <p:nvPr/>
        </p:nvSpPr>
        <p:spPr bwMode="auto">
          <a:xfrm>
            <a:off x="11609389" y="2567622"/>
            <a:ext cx="827086" cy="1859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7E3C124A-61EB-4088-9702-97238CADAE4E}"/>
              </a:ext>
            </a:extLst>
          </p:cNvPr>
          <p:cNvSpPr/>
          <p:nvPr/>
        </p:nvSpPr>
        <p:spPr bwMode="auto">
          <a:xfrm>
            <a:off x="0" y="0"/>
            <a:ext cx="475488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460B9904-E680-4EB3-A30C-CFB6B1AD51B8}"/>
              </a:ext>
            </a:extLst>
          </p:cNvPr>
          <p:cNvSpPr/>
          <p:nvPr/>
        </p:nvSpPr>
        <p:spPr bwMode="auto">
          <a:xfrm>
            <a:off x="4612639" y="941388"/>
            <a:ext cx="6996749" cy="51117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48DC6909-1451-403E-AC8B-6155AEF78D58}"/>
              </a:ext>
            </a:extLst>
          </p:cNvPr>
          <p:cNvSpPr/>
          <p:nvPr/>
        </p:nvSpPr>
        <p:spPr>
          <a:xfrm>
            <a:off x="4907280" y="1073207"/>
            <a:ext cx="6522720" cy="3600986"/>
          </a:xfrm>
          <a:prstGeom prst="rect">
            <a:avLst/>
          </a:prstGeom>
        </p:spPr>
        <p:txBody>
          <a:bodyPr wrap="square" lIns="0" tIns="0" rIns="0" bIns="0" anchor="t">
            <a:spAutoFit/>
          </a:bodyPr>
          <a:lstStyle/>
          <a:p>
            <a:pPr lvl="0" algn="l" defTabSz="914400" rtl="0">
              <a:defRPr/>
            </a:pPr>
            <a:r>
              <a:rPr lang="fr-fr" sz="2600" b="0" i="0" u="none" kern="0" baseline="0" dirty="0">
                <a:latin typeface="Segoe UI Semibold"/>
                <a:cs typeface="Segoe UI Semibold"/>
              </a:rPr>
              <a:t>La majorité des équipes commerciales </a:t>
            </a:r>
            <a:br>
              <a:rPr lang="fr-fr" sz="2600" b="0" i="0" u="none" kern="0" baseline="0" dirty="0">
                <a:latin typeface="Segoe UI Semibold" panose="020B0702040204020203" pitchFamily="34" charset="0"/>
                <a:cs typeface="Segoe UI Semibold" panose="020B0702040204020203" pitchFamily="34" charset="0"/>
              </a:rPr>
            </a:br>
            <a:r>
              <a:rPr lang="fr-fr" sz="2600" b="0" i="0" u="none" kern="0" baseline="0" dirty="0">
                <a:latin typeface="Segoe UI Semibold"/>
                <a:cs typeface="Segoe UI Semibold"/>
              </a:rPr>
              <a:t>et du personnel du siège social étant en télétravail, Dynamics 365 est devenu un élément majeur pour continuer à assurer </a:t>
            </a:r>
            <a:br>
              <a:rPr lang="fr-fr" sz="2600" b="0" i="0" u="none" kern="0" baseline="0" dirty="0">
                <a:latin typeface="Segoe UI Semibold" panose="020B0702040204020203" pitchFamily="34" charset="0"/>
                <a:cs typeface="Segoe UI Semibold" panose="020B0702040204020203" pitchFamily="34" charset="0"/>
              </a:rPr>
            </a:br>
            <a:r>
              <a:rPr lang="fr-fr" sz="2600" b="0" i="0" u="none" kern="0" baseline="0" dirty="0">
                <a:latin typeface="Segoe UI Semibold"/>
                <a:cs typeface="Segoe UI Semibold"/>
              </a:rPr>
              <a:t>le transport de fret afin de fournir du matériel médical d</a:t>
            </a:r>
            <a:r>
              <a:rPr lang="fr-FR" sz="2600" b="0" i="0" u="none" kern="0" baseline="0" dirty="0">
                <a:latin typeface="Segoe UI Semibold"/>
                <a:cs typeface="Segoe UI Semibold"/>
              </a:rPr>
              <a:t>’</a:t>
            </a:r>
            <a:r>
              <a:rPr lang="fr-fr" sz="2600" b="0" i="0" u="none" kern="0" baseline="0" dirty="0">
                <a:latin typeface="Segoe UI Semibold"/>
                <a:cs typeface="Segoe UI Semibold"/>
              </a:rPr>
              <a:t>urgence à travers le monde et de maintenir les chaînes d</a:t>
            </a:r>
            <a:r>
              <a:rPr lang="fr-FR" sz="2600" b="0" i="0" u="none" kern="0" baseline="0" dirty="0">
                <a:latin typeface="Segoe UI Semibold"/>
                <a:cs typeface="Segoe UI Semibold"/>
              </a:rPr>
              <a:t>’</a:t>
            </a:r>
            <a:r>
              <a:rPr lang="fr-fr" sz="2600" b="0" i="0" u="none" kern="0" baseline="0" dirty="0">
                <a:latin typeface="Segoe UI Semibold"/>
                <a:cs typeface="Segoe UI Semibold"/>
              </a:rPr>
              <a:t>approvisionnement dans les secteurs essentiels.</a:t>
            </a:r>
          </a:p>
        </p:txBody>
      </p:sp>
      <p:cxnSp>
        <p:nvCxnSpPr>
          <p:cNvPr id="16" name="Straight Connector 15">
            <a:extLst>
              <a:ext uri="{FF2B5EF4-FFF2-40B4-BE49-F238E27FC236}">
                <a16:creationId xmlns:a16="http://schemas.microsoft.com/office/drawing/2014/main" id="{D4230090-2654-4B10-9BC5-91577B523AD1}"/>
              </a:ext>
            </a:extLst>
          </p:cNvPr>
          <p:cNvCxnSpPr>
            <a:cxnSpLocks/>
          </p:cNvCxnSpPr>
          <p:nvPr/>
        </p:nvCxnSpPr>
        <p:spPr>
          <a:xfrm>
            <a:off x="9784080" y="6184392"/>
            <a:ext cx="1825309"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0CC1199-D2B2-4528-9D40-89A3428DEE73}"/>
              </a:ext>
            </a:extLst>
          </p:cNvPr>
          <p:cNvPicPr>
            <a:picLocks noChangeAspect="1"/>
          </p:cNvPicPr>
          <p:nvPr/>
        </p:nvPicPr>
        <p:blipFill>
          <a:blip r:embed="rId3"/>
          <a:stretch>
            <a:fillRect/>
          </a:stretch>
        </p:blipFill>
        <p:spPr>
          <a:xfrm>
            <a:off x="4976051" y="5485430"/>
            <a:ext cx="3158882" cy="403311"/>
          </a:xfrm>
          <a:prstGeom prst="rect">
            <a:avLst/>
          </a:prstGeom>
        </p:spPr>
      </p:pic>
      <p:pic>
        <p:nvPicPr>
          <p:cNvPr id="31" name="Picture 30">
            <a:extLst>
              <a:ext uri="{FF2B5EF4-FFF2-40B4-BE49-F238E27FC236}">
                <a16:creationId xmlns:a16="http://schemas.microsoft.com/office/drawing/2014/main" id="{A75673D8-C55D-425A-8741-EE007264AC2D}"/>
              </a:ext>
            </a:extLst>
          </p:cNvPr>
          <p:cNvPicPr>
            <a:picLocks noChangeAspect="1"/>
          </p:cNvPicPr>
          <p:nvPr/>
        </p:nvPicPr>
        <p:blipFill rotWithShape="1">
          <a:blip r:embed="rId4"/>
          <a:srcRect l="62903" t="40" r="813" b="280"/>
          <a:stretch/>
        </p:blipFill>
        <p:spPr>
          <a:xfrm>
            <a:off x="0" y="4"/>
            <a:ext cx="4526280" cy="6994525"/>
          </a:xfrm>
          <a:custGeom>
            <a:avLst/>
            <a:gdLst>
              <a:gd name="connsiteX0" fmla="*/ 0 w 4526280"/>
              <a:gd name="connsiteY0" fmla="*/ 0 h 6994525"/>
              <a:gd name="connsiteX1" fmla="*/ 4526280 w 4526280"/>
              <a:gd name="connsiteY1" fmla="*/ 0 h 6994525"/>
              <a:gd name="connsiteX2" fmla="*/ 4526280 w 4526280"/>
              <a:gd name="connsiteY2" fmla="*/ 6994525 h 6994525"/>
              <a:gd name="connsiteX3" fmla="*/ 0 w 452628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4526280" h="6994525">
                <a:moveTo>
                  <a:pt x="0" y="0"/>
                </a:moveTo>
                <a:lnTo>
                  <a:pt x="4526280" y="0"/>
                </a:lnTo>
                <a:lnTo>
                  <a:pt x="4526280" y="6994525"/>
                </a:lnTo>
                <a:lnTo>
                  <a:pt x="0" y="6994525"/>
                </a:lnTo>
                <a:close/>
              </a:path>
            </a:pathLst>
          </a:custGeom>
        </p:spPr>
      </p:pic>
    </p:spTree>
    <p:extLst>
      <p:ext uri="{BB962C8B-B14F-4D97-AF65-F5344CB8AC3E}">
        <p14:creationId xmlns:p14="http://schemas.microsoft.com/office/powerpoint/2010/main" val="52763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153C10D-CDAB-4A69-B4BC-FF8D4BBD41E7}"/>
              </a:ext>
            </a:extLst>
          </p:cNvPr>
          <p:cNvSpPr/>
          <p:nvPr/>
        </p:nvSpPr>
        <p:spPr bwMode="auto">
          <a:xfrm>
            <a:off x="11609389" y="2567622"/>
            <a:ext cx="827086" cy="1859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F1BCA5B5-D766-4481-91A6-B13D1F6C249F}"/>
              </a:ext>
            </a:extLst>
          </p:cNvPr>
          <p:cNvSpPr/>
          <p:nvPr/>
        </p:nvSpPr>
        <p:spPr bwMode="auto">
          <a:xfrm>
            <a:off x="0" y="0"/>
            <a:ext cx="475488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B311BEAC-48A3-4564-A8EB-963D65476F99}"/>
              </a:ext>
            </a:extLst>
          </p:cNvPr>
          <p:cNvSpPr/>
          <p:nvPr/>
        </p:nvSpPr>
        <p:spPr bwMode="auto">
          <a:xfrm>
            <a:off x="4612639" y="941388"/>
            <a:ext cx="6996749" cy="51117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AE99AD1D-D686-4C71-B6EC-B087B6A27CB3}"/>
              </a:ext>
            </a:extLst>
          </p:cNvPr>
          <p:cNvSpPr/>
          <p:nvPr/>
        </p:nvSpPr>
        <p:spPr>
          <a:xfrm>
            <a:off x="4907280" y="1073207"/>
            <a:ext cx="6522720" cy="3200876"/>
          </a:xfrm>
          <a:prstGeom prst="rect">
            <a:avLst/>
          </a:prstGeom>
        </p:spPr>
        <p:txBody>
          <a:bodyPr wrap="square" lIns="0" tIns="0" rIns="0" bIns="0" anchor="t">
            <a:spAutoFit/>
          </a:bodyPr>
          <a:lstStyle/>
          <a:p>
            <a:pPr lvl="0" algn="l" defTabSz="914400" rtl="0">
              <a:defRPr/>
            </a:pPr>
            <a:r>
              <a:rPr lang="fr-fr" sz="2600" b="0" i="0" u="none" kern="0" baseline="0" dirty="0">
                <a:latin typeface="Segoe UI Semibold"/>
                <a:cs typeface="Segoe UI Semibold"/>
              </a:rPr>
              <a:t>« Depuis le déploiement de Dynamics 365 au sein de l</a:t>
            </a:r>
            <a:r>
              <a:rPr lang="fr-FR" sz="2600" b="0" i="0" u="none" kern="0" baseline="0" dirty="0">
                <a:latin typeface="Segoe UI Semibold"/>
                <a:cs typeface="Segoe UI Semibold"/>
              </a:rPr>
              <a:t>’</a:t>
            </a:r>
            <a:r>
              <a:rPr lang="fr-fr" sz="2600" b="0" i="0" u="none" kern="0" baseline="0" dirty="0">
                <a:latin typeface="Segoe UI Semibold"/>
                <a:cs typeface="Segoe UI Semibold"/>
              </a:rPr>
              <a:t>équipe Digital Sales, les revenus de Microsoft ont progressé de </a:t>
            </a:r>
            <a:br>
              <a:rPr lang="fr-fr" sz="2600" b="0" i="0" u="none" kern="0" baseline="0" dirty="0">
                <a:latin typeface="Segoe UI Semibold" panose="020B0702040204020203" pitchFamily="34" charset="0"/>
                <a:cs typeface="Segoe UI Semibold" panose="020B0702040204020203" pitchFamily="34" charset="0"/>
              </a:rPr>
            </a:br>
            <a:r>
              <a:rPr lang="fr-fr" sz="2600" b="0" i="0" u="none" kern="0" baseline="0" dirty="0">
                <a:latin typeface="Segoe UI Semibold"/>
                <a:cs typeface="Segoe UI Semibold"/>
              </a:rPr>
              <a:t>1 % par an au cours des trois dernières années, et ont fait baisser le coût des ventes de 10 %. Le plus important, </a:t>
            </a:r>
            <a:br>
              <a:rPr lang="fr-fr" sz="2600" b="0" i="0" u="none" kern="0" baseline="0" dirty="0">
                <a:latin typeface="Segoe UI Semibold" panose="020B0702040204020203" pitchFamily="34" charset="0"/>
                <a:cs typeface="Segoe UI Semibold" panose="020B0702040204020203" pitchFamily="34" charset="0"/>
              </a:rPr>
            </a:br>
            <a:r>
              <a:rPr lang="fr-fr" sz="2600" b="0" i="0" u="none" kern="0" baseline="0" dirty="0">
                <a:latin typeface="Segoe UI Semibold"/>
                <a:cs typeface="Segoe UI Semibold"/>
              </a:rPr>
              <a:t>c</a:t>
            </a:r>
            <a:r>
              <a:rPr lang="fr-FR" sz="2600" b="0" i="0" u="none" kern="0" baseline="0" dirty="0">
                <a:latin typeface="Segoe UI Semibold"/>
                <a:cs typeface="Segoe UI Semibold"/>
              </a:rPr>
              <a:t>’</a:t>
            </a:r>
            <a:r>
              <a:rPr lang="fr-fr" sz="2600" b="0" i="0" u="none" kern="0" baseline="0" dirty="0">
                <a:latin typeface="Segoe UI Semibold"/>
                <a:cs typeface="Segoe UI Semibold"/>
              </a:rPr>
              <a:t>est de fournir aux clients le meilleur service possible. »</a:t>
            </a:r>
          </a:p>
        </p:txBody>
      </p:sp>
      <p:cxnSp>
        <p:nvCxnSpPr>
          <p:cNvPr id="21" name="Straight Connector 20">
            <a:extLst>
              <a:ext uri="{FF2B5EF4-FFF2-40B4-BE49-F238E27FC236}">
                <a16:creationId xmlns:a16="http://schemas.microsoft.com/office/drawing/2014/main" id="{2ADBFD80-8022-46EA-8BDD-5B87EAF74AB6}"/>
              </a:ext>
            </a:extLst>
          </p:cNvPr>
          <p:cNvCxnSpPr>
            <a:cxnSpLocks/>
          </p:cNvCxnSpPr>
          <p:nvPr/>
        </p:nvCxnSpPr>
        <p:spPr>
          <a:xfrm>
            <a:off x="9784080" y="6184392"/>
            <a:ext cx="1825309"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3C9ED437-065D-40C0-81D0-CD312CC390E6}"/>
              </a:ext>
            </a:extLst>
          </p:cNvPr>
          <p:cNvSpPr/>
          <p:nvPr/>
        </p:nvSpPr>
        <p:spPr>
          <a:xfrm>
            <a:off x="8157050" y="5145247"/>
            <a:ext cx="3272950" cy="738664"/>
          </a:xfrm>
          <a:prstGeom prst="rect">
            <a:avLst/>
          </a:prstGeom>
        </p:spPr>
        <p:txBody>
          <a:bodyPr wrap="square" lIns="0" tIns="0" rIns="0" bIns="0" anchor="b">
            <a:spAutoFit/>
          </a:bodyPr>
          <a:lstStyle/>
          <a:p>
            <a:pPr lvl="0" algn="r" defTabSz="932004" rtl="0">
              <a:spcAft>
                <a:spcPts val="600"/>
              </a:spcAft>
              <a:defRPr/>
            </a:pPr>
            <a:r>
              <a:rPr lang="fr-fr" sz="2000" b="0" i="0" u="none" baseline="0" dirty="0">
                <a:solidFill>
                  <a:srgbClr val="243A5E"/>
                </a:solidFill>
                <a:latin typeface="Segoe UI Semibold"/>
              </a:rPr>
              <a:t>Chris Weber</a:t>
            </a:r>
            <a:br>
              <a:rPr lang="fr-fr" sz="1800" dirty="0">
                <a:latin typeface="Segoe UI Semibold"/>
                <a:cs typeface="Segoe UI Semilight" panose="020B0402040204020203" pitchFamily="34" charset="0"/>
              </a:rPr>
            </a:br>
            <a:r>
              <a:rPr lang="fr-fr" sz="1400" b="0" i="0" u="none" baseline="0" dirty="0" err="1">
                <a:solidFill>
                  <a:srgbClr val="243A5E"/>
                </a:solidFill>
              </a:rPr>
              <a:t>Corporate</a:t>
            </a:r>
            <a:r>
              <a:rPr lang="fr-fr" sz="1400" b="0" i="0" u="none" baseline="0" dirty="0">
                <a:solidFill>
                  <a:srgbClr val="243A5E"/>
                </a:solidFill>
              </a:rPr>
              <a:t> Vice </a:t>
            </a:r>
            <a:r>
              <a:rPr lang="fr-fr" sz="1400" b="0" i="0" u="none" baseline="0" dirty="0" err="1">
                <a:solidFill>
                  <a:srgbClr val="243A5E"/>
                </a:solidFill>
              </a:rPr>
              <a:t>President</a:t>
            </a:r>
            <a:br>
              <a:rPr lang="fr-fr" sz="1400" dirty="0"/>
            </a:br>
            <a:r>
              <a:rPr lang="fr-fr" sz="1400" b="0" i="0" u="none" baseline="0" dirty="0">
                <a:solidFill>
                  <a:srgbClr val="243A5E"/>
                </a:solidFill>
              </a:rPr>
              <a:t>Worldwide Commercial Business</a:t>
            </a:r>
            <a:endParaRPr lang="fr-fr" sz="1400" b="0" i="0" u="none" baseline="0" dirty="0">
              <a:solidFill>
                <a:srgbClr val="243A5E"/>
              </a:solidFill>
              <a:cs typeface="Segoe UI"/>
            </a:endParaRPr>
          </a:p>
        </p:txBody>
      </p:sp>
      <p:pic>
        <p:nvPicPr>
          <p:cNvPr id="25" name="Picture 24" descr="A picture containing drawing&#10;&#10;Description automatically generated">
            <a:extLst>
              <a:ext uri="{FF2B5EF4-FFF2-40B4-BE49-F238E27FC236}">
                <a16:creationId xmlns:a16="http://schemas.microsoft.com/office/drawing/2014/main" id="{E71EF5B5-9B9C-48A9-969B-F726FD47D4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6051" y="5534640"/>
            <a:ext cx="1670560" cy="354101"/>
          </a:xfrm>
          <a:prstGeom prst="rect">
            <a:avLst/>
          </a:prstGeom>
        </p:spPr>
      </p:pic>
      <p:pic>
        <p:nvPicPr>
          <p:cNvPr id="28" name="Picture 27">
            <a:extLst>
              <a:ext uri="{FF2B5EF4-FFF2-40B4-BE49-F238E27FC236}">
                <a16:creationId xmlns:a16="http://schemas.microsoft.com/office/drawing/2014/main" id="{5F09C65F-D58A-4376-A291-909A356C2E35}"/>
              </a:ext>
            </a:extLst>
          </p:cNvPr>
          <p:cNvPicPr>
            <a:picLocks noChangeAspect="1"/>
          </p:cNvPicPr>
          <p:nvPr/>
        </p:nvPicPr>
        <p:blipFill rotWithShape="1">
          <a:blip r:embed="rId4"/>
          <a:srcRect l="54883" r="8720" b="10"/>
          <a:stretch/>
        </p:blipFill>
        <p:spPr>
          <a:xfrm flipH="1">
            <a:off x="0" y="5"/>
            <a:ext cx="4526280" cy="6994525"/>
          </a:xfrm>
          <a:custGeom>
            <a:avLst/>
            <a:gdLst>
              <a:gd name="connsiteX0" fmla="*/ 4526280 w 4526280"/>
              <a:gd name="connsiteY0" fmla="*/ 0 h 6994525"/>
              <a:gd name="connsiteX1" fmla="*/ 0 w 4526280"/>
              <a:gd name="connsiteY1" fmla="*/ 0 h 6994525"/>
              <a:gd name="connsiteX2" fmla="*/ 0 w 4526280"/>
              <a:gd name="connsiteY2" fmla="*/ 6994525 h 6994525"/>
              <a:gd name="connsiteX3" fmla="*/ 4526280 w 452628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4526280" h="6994525">
                <a:moveTo>
                  <a:pt x="4526280" y="0"/>
                </a:moveTo>
                <a:lnTo>
                  <a:pt x="0" y="0"/>
                </a:lnTo>
                <a:lnTo>
                  <a:pt x="0" y="6994525"/>
                </a:lnTo>
                <a:lnTo>
                  <a:pt x="4526280" y="6994525"/>
                </a:lnTo>
                <a:close/>
              </a:path>
            </a:pathLst>
          </a:custGeom>
        </p:spPr>
      </p:pic>
    </p:spTree>
    <p:extLst>
      <p:ext uri="{BB962C8B-B14F-4D97-AF65-F5344CB8AC3E}">
        <p14:creationId xmlns:p14="http://schemas.microsoft.com/office/powerpoint/2010/main" val="3958922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5FF33F1-002C-49C9-A423-981F1FB547E5}"/>
              </a:ext>
            </a:extLst>
          </p:cNvPr>
          <p:cNvSpPr/>
          <p:nvPr/>
        </p:nvSpPr>
        <p:spPr bwMode="auto">
          <a:xfrm>
            <a:off x="11609389" y="2567622"/>
            <a:ext cx="827086" cy="1859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DEE0D6F-63E1-4678-B287-762D65AE571E}"/>
              </a:ext>
            </a:extLst>
          </p:cNvPr>
          <p:cNvSpPr/>
          <p:nvPr/>
        </p:nvSpPr>
        <p:spPr bwMode="auto">
          <a:xfrm>
            <a:off x="0" y="0"/>
            <a:ext cx="475488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30B4F496-6A48-4440-9C7E-DF5B4328765F}"/>
              </a:ext>
            </a:extLst>
          </p:cNvPr>
          <p:cNvSpPr/>
          <p:nvPr/>
        </p:nvSpPr>
        <p:spPr bwMode="auto">
          <a:xfrm>
            <a:off x="4612639" y="941388"/>
            <a:ext cx="6996749" cy="51117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9E405C66-9262-49D9-9C6F-CF1F86491103}"/>
              </a:ext>
            </a:extLst>
          </p:cNvPr>
          <p:cNvSpPr/>
          <p:nvPr/>
        </p:nvSpPr>
        <p:spPr>
          <a:xfrm>
            <a:off x="4907280" y="1073207"/>
            <a:ext cx="6522720" cy="2800767"/>
          </a:xfrm>
          <a:prstGeom prst="rect">
            <a:avLst/>
          </a:prstGeom>
        </p:spPr>
        <p:txBody>
          <a:bodyPr wrap="square" lIns="0" tIns="0" rIns="0" bIns="0" anchor="t">
            <a:spAutoFit/>
          </a:bodyPr>
          <a:lstStyle/>
          <a:p>
            <a:pPr lvl="0" algn="l" defTabSz="914400" rtl="0">
              <a:defRPr/>
            </a:pPr>
            <a:r>
              <a:rPr lang="fr-fr" sz="2600" b="0" i="0" u="none" kern="0" baseline="0" dirty="0">
                <a:latin typeface="Segoe UI Semibold"/>
                <a:cs typeface="Segoe UI Semibold"/>
              </a:rPr>
              <a:t>« Les deux avantages principaux de Dynamics 365 Sales sont la possibilité </a:t>
            </a:r>
            <a:br>
              <a:rPr lang="fr-fr" sz="2600" b="0" i="0" u="none" kern="0" baseline="0" dirty="0">
                <a:latin typeface="Segoe UI Semibold" panose="020B0702040204020203" pitchFamily="34" charset="0"/>
                <a:cs typeface="Segoe UI Semibold" panose="020B0702040204020203" pitchFamily="34" charset="0"/>
              </a:rPr>
            </a:br>
            <a:r>
              <a:rPr lang="fr-fr" sz="2600" b="0" i="0" u="none" kern="0" baseline="0" dirty="0">
                <a:latin typeface="Segoe UI Semibold"/>
                <a:cs typeface="Segoe UI Semibold"/>
              </a:rPr>
              <a:t>de prospecter plus efficacement et le </a:t>
            </a:r>
            <a:br>
              <a:rPr lang="fr-fr" sz="2600" b="0" i="0" u="none" kern="0" baseline="0" dirty="0">
                <a:latin typeface="Segoe UI Semibold" panose="020B0702040204020203" pitchFamily="34" charset="0"/>
                <a:cs typeface="Segoe UI Semibold" panose="020B0702040204020203" pitchFamily="34" charset="0"/>
              </a:rPr>
            </a:br>
            <a:r>
              <a:rPr lang="fr-fr" sz="2600" b="0" i="0" u="none" kern="0" baseline="0" dirty="0">
                <a:latin typeface="Segoe UI Semibold"/>
                <a:cs typeface="Segoe UI Semibold"/>
              </a:rPr>
              <a:t>gain de temps pour notre force de vente. L</a:t>
            </a:r>
            <a:r>
              <a:rPr lang="fr-FR" sz="2600" b="0" i="0" u="none" kern="0" baseline="0" dirty="0">
                <a:latin typeface="Segoe UI Semibold"/>
                <a:cs typeface="Segoe UI Semibold"/>
              </a:rPr>
              <a:t>’</a:t>
            </a:r>
            <a:r>
              <a:rPr lang="fr-fr" sz="2600" b="0" i="0" u="none" kern="0" baseline="0" dirty="0">
                <a:latin typeface="Segoe UI Semibold"/>
                <a:cs typeface="Segoe UI Semibold"/>
              </a:rPr>
              <a:t>ajout de Product </a:t>
            </a:r>
            <a:r>
              <a:rPr lang="fr-fr" sz="2600" b="0" i="0" u="none" kern="0" baseline="0" dirty="0" err="1">
                <a:latin typeface="Segoe UI Semibold"/>
                <a:cs typeface="Segoe UI Semibold"/>
              </a:rPr>
              <a:t>Visualize</a:t>
            </a:r>
            <a:r>
              <a:rPr lang="fr-fr" sz="2600" b="0" i="0" u="none" kern="0" baseline="0" dirty="0">
                <a:latin typeface="Segoe UI Semibold"/>
                <a:cs typeface="Segoe UI Semibold"/>
              </a:rPr>
              <a:t> permettra </a:t>
            </a:r>
            <a:br>
              <a:rPr lang="fr-fr" sz="2600" b="0" i="0" u="none" kern="0" baseline="0" dirty="0">
                <a:latin typeface="Segoe UI Semibold" panose="020B0702040204020203" pitchFamily="34" charset="0"/>
                <a:cs typeface="Segoe UI Semibold" panose="020B0702040204020203" pitchFamily="34" charset="0"/>
              </a:rPr>
            </a:br>
            <a:r>
              <a:rPr lang="fr-fr" sz="2600" b="0" i="0" u="none" kern="0" baseline="0" dirty="0">
                <a:latin typeface="Segoe UI Semibold"/>
                <a:cs typeface="Segoe UI Semibold"/>
              </a:rPr>
              <a:t>de rationaliser encore davantage les processus. »</a:t>
            </a:r>
          </a:p>
        </p:txBody>
      </p:sp>
      <p:cxnSp>
        <p:nvCxnSpPr>
          <p:cNvPr id="20" name="Straight Connector 19">
            <a:extLst>
              <a:ext uri="{FF2B5EF4-FFF2-40B4-BE49-F238E27FC236}">
                <a16:creationId xmlns:a16="http://schemas.microsoft.com/office/drawing/2014/main" id="{DE4B2628-F95C-4A33-9393-699A9B07546A}"/>
              </a:ext>
            </a:extLst>
          </p:cNvPr>
          <p:cNvCxnSpPr>
            <a:cxnSpLocks/>
          </p:cNvCxnSpPr>
          <p:nvPr/>
        </p:nvCxnSpPr>
        <p:spPr>
          <a:xfrm>
            <a:off x="9784080" y="6184392"/>
            <a:ext cx="1825309"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48655BC-3E64-4B6A-AC4B-9C6634B1556E}"/>
              </a:ext>
            </a:extLst>
          </p:cNvPr>
          <p:cNvSpPr/>
          <p:nvPr/>
        </p:nvSpPr>
        <p:spPr>
          <a:xfrm>
            <a:off x="8157050" y="5360691"/>
            <a:ext cx="3272950" cy="523220"/>
          </a:xfrm>
          <a:prstGeom prst="rect">
            <a:avLst/>
          </a:prstGeom>
        </p:spPr>
        <p:txBody>
          <a:bodyPr wrap="square" lIns="0" tIns="0" rIns="0" bIns="0" anchor="b">
            <a:spAutoFit/>
          </a:bodyPr>
          <a:lstStyle/>
          <a:p>
            <a:pPr lvl="0" algn="r" defTabSz="932004" rtl="0">
              <a:spcAft>
                <a:spcPts val="600"/>
              </a:spcAft>
              <a:defRPr/>
            </a:pPr>
            <a:r>
              <a:rPr lang="fr-fr" sz="2000" b="0" i="0" u="none" baseline="0" dirty="0">
                <a:solidFill>
                  <a:srgbClr val="243A5E"/>
                </a:solidFill>
                <a:latin typeface="Segoe UI Semibold"/>
              </a:rPr>
              <a:t>Lorena O</a:t>
            </a:r>
            <a:r>
              <a:rPr lang="fr-FR" sz="2000" b="0" i="0" u="none" baseline="0" dirty="0">
                <a:solidFill>
                  <a:srgbClr val="243A5E"/>
                </a:solidFill>
                <a:latin typeface="Segoe UI Semibold"/>
              </a:rPr>
              <a:t>’</a:t>
            </a:r>
            <a:r>
              <a:rPr lang="fr-fr" sz="2000" b="0" i="0" u="none" baseline="0" dirty="0">
                <a:solidFill>
                  <a:srgbClr val="243A5E"/>
                </a:solidFill>
                <a:latin typeface="Segoe UI Semibold"/>
              </a:rPr>
              <a:t>Neill</a:t>
            </a:r>
            <a:br>
              <a:rPr lang="fr-fr" sz="1800" dirty="0">
                <a:latin typeface="Segoe UI Semibold"/>
                <a:cs typeface="Segoe UI Semilight" panose="020B0402040204020203" pitchFamily="34" charset="0"/>
              </a:rPr>
            </a:br>
            <a:r>
              <a:rPr lang="fr-fr" sz="1400" b="0" i="0" u="none" baseline="0" dirty="0">
                <a:solidFill>
                  <a:srgbClr val="243A5E"/>
                </a:solidFill>
              </a:rPr>
              <a:t>Global </a:t>
            </a:r>
            <a:r>
              <a:rPr lang="fr-fr" sz="1400" b="0" i="0" u="none" baseline="0" dirty="0" err="1">
                <a:solidFill>
                  <a:srgbClr val="243A5E"/>
                </a:solidFill>
              </a:rPr>
              <a:t>Director</a:t>
            </a:r>
            <a:endParaRPr lang="fr-fr" sz="1400" b="0" i="0" u="none" baseline="0" dirty="0">
              <a:solidFill>
                <a:srgbClr val="243A5E"/>
              </a:solidFill>
            </a:endParaRPr>
          </a:p>
        </p:txBody>
      </p:sp>
      <p:pic>
        <p:nvPicPr>
          <p:cNvPr id="25" name="Picture 4" descr="Ecolab Logo PNG Transparent - PngPix">
            <a:extLst>
              <a:ext uri="{FF2B5EF4-FFF2-40B4-BE49-F238E27FC236}">
                <a16:creationId xmlns:a16="http://schemas.microsoft.com/office/drawing/2014/main" id="{707EE5C2-5CBE-4E67-8CD2-8E4FBA0B70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112" t="17146" r="4112" b="14701"/>
          <a:stretch/>
        </p:blipFill>
        <p:spPr bwMode="auto">
          <a:xfrm>
            <a:off x="4976051" y="5574823"/>
            <a:ext cx="1647825" cy="31391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79CCF660-3589-4E48-B8C7-52108A62B9B7}"/>
              </a:ext>
            </a:extLst>
          </p:cNvPr>
          <p:cNvPicPr>
            <a:picLocks noChangeAspect="1"/>
          </p:cNvPicPr>
          <p:nvPr/>
        </p:nvPicPr>
        <p:blipFill rotWithShape="1">
          <a:blip r:embed="rId4"/>
          <a:srcRect l="39431" t="276" r="24391" b="338"/>
          <a:stretch/>
        </p:blipFill>
        <p:spPr>
          <a:xfrm>
            <a:off x="0" y="6"/>
            <a:ext cx="4526280" cy="6994525"/>
          </a:xfrm>
          <a:custGeom>
            <a:avLst/>
            <a:gdLst>
              <a:gd name="connsiteX0" fmla="*/ 0 w 4526280"/>
              <a:gd name="connsiteY0" fmla="*/ 0 h 6994525"/>
              <a:gd name="connsiteX1" fmla="*/ 4526280 w 4526280"/>
              <a:gd name="connsiteY1" fmla="*/ 0 h 6994525"/>
              <a:gd name="connsiteX2" fmla="*/ 4526280 w 4526280"/>
              <a:gd name="connsiteY2" fmla="*/ 6994525 h 6994525"/>
              <a:gd name="connsiteX3" fmla="*/ 0 w 452628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4526280" h="6994525">
                <a:moveTo>
                  <a:pt x="0" y="0"/>
                </a:moveTo>
                <a:lnTo>
                  <a:pt x="4526280" y="0"/>
                </a:lnTo>
                <a:lnTo>
                  <a:pt x="4526280" y="6994525"/>
                </a:lnTo>
                <a:lnTo>
                  <a:pt x="0" y="6994525"/>
                </a:lnTo>
                <a:close/>
              </a:path>
            </a:pathLst>
          </a:custGeom>
        </p:spPr>
      </p:pic>
    </p:spTree>
    <p:extLst>
      <p:ext uri="{BB962C8B-B14F-4D97-AF65-F5344CB8AC3E}">
        <p14:creationId xmlns:p14="http://schemas.microsoft.com/office/powerpoint/2010/main" val="326503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60934D78-CB4F-4D61-A3CD-91D26E5B060A}"/>
              </a:ext>
            </a:extLst>
          </p:cNvPr>
          <p:cNvSpPr/>
          <p:nvPr/>
        </p:nvSpPr>
        <p:spPr bwMode="auto">
          <a:xfrm>
            <a:off x="2546020" y="0"/>
            <a:ext cx="555995" cy="3398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16469762-6CC4-4181-ACFD-427B366B01FC}"/>
              </a:ext>
            </a:extLst>
          </p:cNvPr>
          <p:cNvSpPr/>
          <p:nvPr/>
        </p:nvSpPr>
        <p:spPr bwMode="auto">
          <a:xfrm>
            <a:off x="2546020" y="3398520"/>
            <a:ext cx="9890455" cy="1325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4AFE0A3F-3231-4EB3-A586-9231B8C29D0B}"/>
              </a:ext>
            </a:extLst>
          </p:cNvPr>
          <p:cNvSpPr/>
          <p:nvPr/>
        </p:nvSpPr>
        <p:spPr bwMode="auto">
          <a:xfrm flipH="1" flipV="1">
            <a:off x="2810256" y="3755136"/>
            <a:ext cx="8766046" cy="245612"/>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38" name="Graphic 12">
            <a:extLst>
              <a:ext uri="{FF2B5EF4-FFF2-40B4-BE49-F238E27FC236}">
                <a16:creationId xmlns:a16="http://schemas.microsoft.com/office/drawing/2014/main" id="{6B5E79B8-F0DD-4524-874A-18ED59E4C578}"/>
              </a:ext>
            </a:extLst>
          </p:cNvPr>
          <p:cNvGrpSpPr/>
          <p:nvPr/>
        </p:nvGrpSpPr>
        <p:grpSpPr>
          <a:xfrm flipV="1">
            <a:off x="11451289" y="3536991"/>
            <a:ext cx="246001" cy="172643"/>
            <a:chOff x="5753695" y="3190875"/>
            <a:chExt cx="669726" cy="470014"/>
          </a:xfrm>
          <a:solidFill>
            <a:schemeClr val="bg1"/>
          </a:solidFill>
        </p:grpSpPr>
        <p:sp>
          <p:nvSpPr>
            <p:cNvPr id="39" name="Freeform: Shape 38">
              <a:extLst>
                <a:ext uri="{FF2B5EF4-FFF2-40B4-BE49-F238E27FC236}">
                  <a16:creationId xmlns:a16="http://schemas.microsoft.com/office/drawing/2014/main" id="{927C0C2B-1A7E-468E-BDB6-3970F63785E3}"/>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solidFill>
                  <a:schemeClr val="bg1"/>
                </a:solidFill>
                <a:cs typeface="Segoe UI"/>
              </a:endParaRPr>
            </a:p>
          </p:txBody>
        </p:sp>
        <p:sp>
          <p:nvSpPr>
            <p:cNvPr id="40" name="Freeform: Shape 39">
              <a:extLst>
                <a:ext uri="{FF2B5EF4-FFF2-40B4-BE49-F238E27FC236}">
                  <a16:creationId xmlns:a16="http://schemas.microsoft.com/office/drawing/2014/main" id="{32BDC75C-5513-43A1-96A4-443BD7D86336}"/>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solidFill>
                  <a:schemeClr val="bg1"/>
                </a:solidFill>
                <a:cs typeface="Segoe UI"/>
              </a:endParaRPr>
            </a:p>
          </p:txBody>
        </p:sp>
      </p:grpSp>
      <p:sp>
        <p:nvSpPr>
          <p:cNvPr id="41" name="Freeform: Shape 40">
            <a:extLst>
              <a:ext uri="{FF2B5EF4-FFF2-40B4-BE49-F238E27FC236}">
                <a16:creationId xmlns:a16="http://schemas.microsoft.com/office/drawing/2014/main" id="{B29BC9C3-F0F1-4B89-8E7E-3410B2589B98}"/>
              </a:ext>
            </a:extLst>
          </p:cNvPr>
          <p:cNvSpPr/>
          <p:nvPr/>
        </p:nvSpPr>
        <p:spPr bwMode="auto">
          <a:xfrm>
            <a:off x="2810257" y="478631"/>
            <a:ext cx="4914516" cy="234601"/>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42" name="Graphic 12">
            <a:extLst>
              <a:ext uri="{FF2B5EF4-FFF2-40B4-BE49-F238E27FC236}">
                <a16:creationId xmlns:a16="http://schemas.microsoft.com/office/drawing/2014/main" id="{CAFE40D3-4995-415F-8268-43CC0C879E82}"/>
              </a:ext>
            </a:extLst>
          </p:cNvPr>
          <p:cNvGrpSpPr/>
          <p:nvPr/>
        </p:nvGrpSpPr>
        <p:grpSpPr>
          <a:xfrm flipH="1">
            <a:off x="2686591" y="769744"/>
            <a:ext cx="246001" cy="172643"/>
            <a:chOff x="5753695" y="3190875"/>
            <a:chExt cx="669726" cy="470014"/>
          </a:xfrm>
          <a:solidFill>
            <a:schemeClr val="bg1"/>
          </a:solidFill>
        </p:grpSpPr>
        <p:sp>
          <p:nvSpPr>
            <p:cNvPr id="43" name="Freeform: Shape 42">
              <a:extLst>
                <a:ext uri="{FF2B5EF4-FFF2-40B4-BE49-F238E27FC236}">
                  <a16:creationId xmlns:a16="http://schemas.microsoft.com/office/drawing/2014/main" id="{32B05DC0-EB19-4B92-B403-EE7504A9BFBC}"/>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44" name="Freeform: Shape 43">
              <a:extLst>
                <a:ext uri="{FF2B5EF4-FFF2-40B4-BE49-F238E27FC236}">
                  <a16:creationId xmlns:a16="http://schemas.microsoft.com/office/drawing/2014/main" id="{84379F18-DA0F-4ED6-9DE5-9CDA51B55355}"/>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cxnSp>
        <p:nvCxnSpPr>
          <p:cNvPr id="45" name="Straight Connector 44">
            <a:extLst>
              <a:ext uri="{FF2B5EF4-FFF2-40B4-BE49-F238E27FC236}">
                <a16:creationId xmlns:a16="http://schemas.microsoft.com/office/drawing/2014/main" id="{084788D9-F476-46B8-B063-DD92F66A358C}"/>
              </a:ext>
            </a:extLst>
          </p:cNvPr>
          <p:cNvCxnSpPr>
            <a:cxnSpLocks/>
          </p:cNvCxnSpPr>
          <p:nvPr/>
        </p:nvCxnSpPr>
        <p:spPr>
          <a:xfrm>
            <a:off x="2810257" y="1028700"/>
            <a:ext cx="0" cy="2972048"/>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705DAF0-F413-41D0-AB60-FE085FC89141}"/>
              </a:ext>
            </a:extLst>
          </p:cNvPr>
          <p:cNvSpPr/>
          <p:nvPr/>
        </p:nvSpPr>
        <p:spPr bwMode="auto">
          <a:xfrm>
            <a:off x="1" y="-1"/>
            <a:ext cx="2470150" cy="6994525"/>
          </a:xfrm>
          <a:prstGeom prst="rect">
            <a:avLst/>
          </a:prstGeom>
          <a:solidFill>
            <a:srgbClr val="E6E6E6"/>
          </a:solidFill>
          <a:ln w="10795" cap="flat" cmpd="sng" algn="ctr">
            <a:noFill/>
            <a:prstDash val="solid"/>
          </a:ln>
          <a:effectLst/>
        </p:spPr>
        <p:txBody>
          <a:bodyPr rtlCol="0" anchor="ctr"/>
          <a:lstStyle/>
          <a:p>
            <a:pPr algn="ctr" defTabSz="913676" rtl="0"/>
            <a:endParaRPr lang="fr-fr" sz="1750" kern="0" dirty="0">
              <a:latin typeface="Segoe UI"/>
              <a:cs typeface="Segoe UI"/>
            </a:endParaRPr>
          </a:p>
        </p:txBody>
      </p:sp>
      <p:cxnSp>
        <p:nvCxnSpPr>
          <p:cNvPr id="13" name="Straight Connector 12">
            <a:extLst>
              <a:ext uri="{FF2B5EF4-FFF2-40B4-BE49-F238E27FC236}">
                <a16:creationId xmlns:a16="http://schemas.microsoft.com/office/drawing/2014/main" id="{D8ED9B0B-DF92-4AB0-BE3D-31C7F5C78C9D}"/>
              </a:ext>
            </a:extLst>
          </p:cNvPr>
          <p:cNvCxnSpPr>
            <a:cxnSpLocks/>
          </p:cNvCxnSpPr>
          <p:nvPr/>
        </p:nvCxnSpPr>
        <p:spPr>
          <a:xfrm>
            <a:off x="2546021" y="-1"/>
            <a:ext cx="0" cy="6994525"/>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A picture containing drawing&#10;&#10;Description automatically generated">
            <a:extLst>
              <a:ext uri="{FF2B5EF4-FFF2-40B4-BE49-F238E27FC236}">
                <a16:creationId xmlns:a16="http://schemas.microsoft.com/office/drawing/2014/main" id="{58C45C59-E9DA-4F40-8F22-5ECFB9438D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457200"/>
            <a:ext cx="1693862" cy="359040"/>
          </a:xfrm>
          <a:prstGeom prst="rect">
            <a:avLst/>
          </a:prstGeom>
        </p:spPr>
      </p:pic>
      <p:sp>
        <p:nvSpPr>
          <p:cNvPr id="19" name="Text Placeholder 6">
            <a:extLst>
              <a:ext uri="{FF2B5EF4-FFF2-40B4-BE49-F238E27FC236}">
                <a16:creationId xmlns:a16="http://schemas.microsoft.com/office/drawing/2014/main" id="{41684110-2615-4ACF-B92A-9CAF12757E59}"/>
              </a:ext>
            </a:extLst>
          </p:cNvPr>
          <p:cNvSpPr txBox="1">
            <a:spLocks/>
          </p:cNvSpPr>
          <p:nvPr/>
        </p:nvSpPr>
        <p:spPr>
          <a:xfrm>
            <a:off x="455613" y="2876551"/>
            <a:ext cx="1882919" cy="3181350"/>
          </a:xfrm>
          <a:prstGeom prst="rect">
            <a:avLst/>
          </a:prstGeom>
        </p:spPr>
        <p:txBody>
          <a:bodyPr lIns="0" tIns="0" rIns="0" bIns="0" anchor="t" anchorCtr="0"/>
          <a:lstStyle>
            <a:lvl1pPr marL="0" indent="0" algn="l" defTabSz="932597" rtl="0" eaLnBrk="1" latinLnBrk="0" hangingPunct="1">
              <a:lnSpc>
                <a:spcPct val="100000"/>
              </a:lnSpc>
              <a:spcBef>
                <a:spcPts val="1020"/>
              </a:spcBef>
              <a:buFont typeface="Arial" panose="020B0604020202020204" pitchFamily="34" charset="0"/>
              <a:buNone/>
              <a:defRPr sz="1020" b="1" i="0" kern="1200">
                <a:solidFill>
                  <a:schemeClr val="bg1">
                    <a:lumMod val="50000"/>
                  </a:schemeClr>
                </a:solidFill>
                <a:latin typeface="Segoe UI Semibold" panose="020B0502040204020203" pitchFamily="34" charset="0"/>
                <a:ea typeface="+mn-ea"/>
                <a:cs typeface="Segoe UI Semibold"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1020"/>
              </a:spcBef>
              <a:spcAft>
                <a:spcPts val="0"/>
              </a:spcAft>
              <a:buClrTx/>
              <a:buSzTx/>
              <a:buFont typeface="Arial" panose="020B0604020202020204" pitchFamily="34" charset="0"/>
              <a:buNone/>
              <a:tabLst/>
              <a:defRPr/>
            </a:pPr>
            <a:r>
              <a:rPr kumimoji="0" lang="fr-fr" sz="1100" b="1" i="0" u="none" strike="noStrike" kern="1200" cap="none" spc="0" normalizeH="0" baseline="0" dirty="0">
                <a:ln>
                  <a:noFill/>
                </a:ln>
                <a:solidFill>
                  <a:schemeClr val="tx1"/>
                </a:solidFill>
                <a:effectLst/>
                <a:uLnTx/>
                <a:uFillTx/>
                <a:latin typeface="+mj-lt"/>
                <a:ea typeface="+mn-ea"/>
                <a:cs typeface="Segoe UI Semibold"/>
              </a:rPr>
              <a:t>Client :</a:t>
            </a:r>
            <a:br>
              <a:rPr lang="fr-fr" sz="1100" b="1" i="0" u="none" strike="noStrike" kern="1200" cap="none" spc="0" normalizeH="0" baseline="0" dirty="0">
                <a:ln>
                  <a:noFill/>
                </a:ln>
                <a:effectLst/>
                <a:uLnTx/>
                <a:uFillTx/>
                <a:latin typeface="+mn-lt"/>
                <a:cs typeface="Segoe UI Semibold" panose="020B0502040204020203" pitchFamily="34" charset="0"/>
              </a:rPr>
            </a:br>
            <a:r>
              <a:rPr kumimoji="0" lang="fr-fr" sz="1100" b="0" i="0" u="none" strike="noStrike" kern="1200" cap="none" spc="0" normalizeH="0" baseline="0" dirty="0">
                <a:ln>
                  <a:noFill/>
                </a:ln>
                <a:solidFill>
                  <a:schemeClr val="tx1"/>
                </a:solidFill>
                <a:effectLst/>
                <a:uLnTx/>
                <a:uFillTx/>
                <a:latin typeface="+mn-lt"/>
                <a:ea typeface="+mn-ea"/>
                <a:cs typeface="Segoe UI Semilight"/>
              </a:rPr>
              <a:t>Microsoft</a:t>
            </a:r>
            <a:endParaRPr lang="fr-fr" sz="1100" i="0" u="none" strike="noStrike" kern="1200" cap="none" spc="0" normalizeH="0" baseline="0" noProof="0">
              <a:ln>
                <a:noFill/>
              </a:ln>
              <a:solidFill>
                <a:schemeClr val="tx1"/>
              </a:solidFill>
              <a:effectLst/>
              <a:uLnTx/>
              <a:uFillTx/>
              <a:latin typeface="+mn-lt"/>
              <a:cs typeface="Segoe UI Semilight"/>
            </a:endParaRPr>
          </a:p>
          <a:p>
            <a:pPr marL="0" marR="0" lvl="0" indent="0" algn="l" defTabSz="932597"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fr-fr" sz="1100" b="1" i="0" u="none" strike="noStrike" kern="1200" cap="none" spc="0" normalizeH="0" baseline="0" dirty="0">
                <a:ln>
                  <a:noFill/>
                </a:ln>
                <a:solidFill>
                  <a:schemeClr val="tx1"/>
                </a:solidFill>
                <a:effectLst/>
                <a:uLnTx/>
                <a:uFillTx/>
                <a:latin typeface="+mj-lt"/>
                <a:ea typeface="+mn-ea"/>
                <a:cs typeface="Segoe UI Semibold"/>
              </a:rPr>
              <a:t>Secteur d</a:t>
            </a:r>
            <a:r>
              <a:rPr kumimoji="0" lang="fr-FR" sz="1100" b="1" i="0" u="none" strike="noStrike" kern="1200" cap="none" spc="0" normalizeH="0" baseline="0" dirty="0">
                <a:ln>
                  <a:noFill/>
                </a:ln>
                <a:solidFill>
                  <a:schemeClr val="tx1"/>
                </a:solidFill>
                <a:effectLst/>
                <a:uLnTx/>
                <a:uFillTx/>
                <a:latin typeface="+mj-lt"/>
                <a:ea typeface="+mn-ea"/>
                <a:cs typeface="Segoe UI Semibold"/>
              </a:rPr>
              <a:t>’</a:t>
            </a:r>
            <a:r>
              <a:rPr kumimoji="0" lang="fr-fr" sz="1100" b="1" i="0" u="none" strike="noStrike" kern="1200" cap="none" spc="0" normalizeH="0" baseline="0" dirty="0">
                <a:ln>
                  <a:noFill/>
                </a:ln>
                <a:solidFill>
                  <a:schemeClr val="tx1"/>
                </a:solidFill>
                <a:effectLst/>
                <a:uLnTx/>
                <a:uFillTx/>
                <a:latin typeface="+mj-lt"/>
                <a:ea typeface="+mn-ea"/>
                <a:cs typeface="Segoe UI Semibold"/>
              </a:rPr>
              <a:t>activité :</a:t>
            </a:r>
            <a:br>
              <a:rPr lang="fr-fr" sz="1100" b="1" i="0" u="none" strike="noStrike" kern="1200" cap="none" spc="0" normalizeH="0" baseline="0" dirty="0">
                <a:ln>
                  <a:noFill/>
                </a:ln>
                <a:effectLst/>
                <a:uLnTx/>
                <a:uFillTx/>
                <a:latin typeface="+mn-lt"/>
                <a:cs typeface="Segoe UI Semibold" panose="020B0502040204020203" pitchFamily="34" charset="0"/>
              </a:rPr>
            </a:br>
            <a:r>
              <a:rPr kumimoji="0" lang="fr-fr" sz="1100" b="0" i="0" u="none" strike="noStrike" kern="1200" cap="none" spc="0" normalizeH="0" baseline="0" dirty="0">
                <a:ln>
                  <a:noFill/>
                </a:ln>
                <a:solidFill>
                  <a:schemeClr val="tx1"/>
                </a:solidFill>
                <a:effectLst/>
                <a:uLnTx/>
                <a:uFillTx/>
                <a:latin typeface="+mn-lt"/>
                <a:ea typeface="+mn-ea"/>
                <a:cs typeface="Segoe UI Semilight"/>
              </a:rPr>
              <a:t>Services professionnels partenaires</a:t>
            </a:r>
            <a:endParaRPr lang="fr-fr" sz="1100" b="0" i="0" u="none" strike="noStrike" kern="1200" cap="none" spc="0" normalizeH="0" baseline="0" dirty="0">
              <a:ln>
                <a:noFill/>
              </a:ln>
              <a:solidFill>
                <a:schemeClr val="tx1"/>
              </a:solidFill>
              <a:effectLst/>
              <a:uLnTx/>
              <a:uFillTx/>
              <a:latin typeface="+mn-lt"/>
              <a:cs typeface="Segoe UI Semilight"/>
            </a:endParaRPr>
          </a:p>
          <a:p>
            <a:pPr marL="0" marR="0" lvl="0" indent="0" algn="l" defTabSz="932597"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fr-fr" sz="1100" b="1" i="0" u="none" strike="noStrike" kern="1200" cap="none" spc="0" normalizeH="0" baseline="0" dirty="0">
                <a:ln>
                  <a:noFill/>
                </a:ln>
                <a:solidFill>
                  <a:schemeClr val="tx1"/>
                </a:solidFill>
                <a:effectLst/>
                <a:uLnTx/>
                <a:uFillTx/>
                <a:latin typeface="+mj-lt"/>
                <a:ea typeface="+mn-ea"/>
                <a:cs typeface="Segoe UI Semibold"/>
              </a:rPr>
              <a:t>Taille :</a:t>
            </a:r>
            <a:br>
              <a:rPr lang="fr-fr" sz="1100" b="1" i="0" u="none" strike="noStrike" kern="1200" cap="none" spc="0" normalizeH="0" baseline="0" dirty="0">
                <a:ln>
                  <a:noFill/>
                </a:ln>
                <a:effectLst/>
                <a:uLnTx/>
                <a:uFillTx/>
                <a:latin typeface="+mn-lt"/>
                <a:cs typeface="Segoe UI Semibold" panose="020B0502040204020203" pitchFamily="34" charset="0"/>
              </a:rPr>
            </a:br>
            <a:r>
              <a:rPr kumimoji="0" lang="fr-fr" sz="1100" b="0" i="0" u="none" strike="noStrike" kern="1200" cap="none" spc="0" normalizeH="0" baseline="0" dirty="0">
                <a:ln>
                  <a:noFill/>
                </a:ln>
                <a:solidFill>
                  <a:schemeClr val="tx1"/>
                </a:solidFill>
                <a:effectLst/>
                <a:uLnTx/>
                <a:uFillTx/>
                <a:latin typeface="+mn-lt"/>
                <a:ea typeface="+mn-ea"/>
                <a:cs typeface="Segoe UI Semilight"/>
              </a:rPr>
              <a:t>Plus de 10 000 employés</a:t>
            </a:r>
            <a:endParaRPr lang="fr-fr" sz="1100" b="0" i="0" u="none" strike="noStrike" kern="1200" cap="none" spc="0" normalizeH="0" baseline="0" dirty="0">
              <a:ln>
                <a:noFill/>
              </a:ln>
              <a:solidFill>
                <a:schemeClr val="tx1"/>
              </a:solidFill>
              <a:effectLst/>
              <a:uLnTx/>
              <a:uFillTx/>
              <a:latin typeface="+mn-lt"/>
              <a:cs typeface="Segoe UI Semilight"/>
            </a:endParaRPr>
          </a:p>
          <a:p>
            <a:pPr marL="0" marR="0" lvl="0" indent="0" algn="l" defTabSz="932597"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fr-fr" sz="1100" b="1" i="0" u="none" strike="noStrike" kern="1200" cap="none" spc="0" normalizeH="0" baseline="0" dirty="0">
                <a:ln>
                  <a:noFill/>
                </a:ln>
                <a:solidFill>
                  <a:schemeClr val="tx1"/>
                </a:solidFill>
                <a:effectLst/>
                <a:uLnTx/>
                <a:uFillTx/>
                <a:latin typeface="+mj-lt"/>
                <a:ea typeface="+mn-ea"/>
                <a:cs typeface="Segoe UI Semibold"/>
              </a:rPr>
              <a:t>Pays :</a:t>
            </a:r>
            <a:br>
              <a:rPr lang="fr-fr" sz="1100" b="1" i="0" u="none" strike="noStrike" kern="1200" cap="none" spc="0" normalizeH="0" baseline="0" dirty="0">
                <a:ln>
                  <a:noFill/>
                </a:ln>
                <a:effectLst/>
                <a:uLnTx/>
                <a:uFillTx/>
                <a:latin typeface="+mn-lt"/>
                <a:cs typeface="Segoe UI Semibold" panose="020B0502040204020203" pitchFamily="34" charset="0"/>
              </a:rPr>
            </a:br>
            <a:r>
              <a:rPr kumimoji="0" lang="fr-fr" sz="1100" b="0" i="0" u="none" strike="noStrike" kern="1200" cap="none" spc="0" normalizeH="0" baseline="0" dirty="0">
                <a:ln>
                  <a:noFill/>
                </a:ln>
                <a:solidFill>
                  <a:schemeClr val="tx1"/>
                </a:solidFill>
                <a:effectLst/>
                <a:uLnTx/>
                <a:uFillTx/>
                <a:latin typeface="+mn-lt"/>
                <a:ea typeface="+mn-ea"/>
                <a:cs typeface="Segoe UI Semilight"/>
              </a:rPr>
              <a:t>États-Unis</a:t>
            </a:r>
            <a:endParaRPr lang="fr-fr" sz="1100" b="0" i="0" u="none" strike="noStrike" kern="1200" cap="none" spc="0" normalizeH="0" baseline="0" dirty="0">
              <a:ln>
                <a:noFill/>
              </a:ln>
              <a:solidFill>
                <a:schemeClr val="tx1"/>
              </a:solidFill>
              <a:effectLst/>
              <a:uLnTx/>
              <a:uFillTx/>
              <a:latin typeface="+mn-lt"/>
              <a:cs typeface="Segoe UI Semilight"/>
            </a:endParaRPr>
          </a:p>
          <a:p>
            <a:pPr marL="0" marR="0" lvl="0" indent="0" algn="l" defTabSz="932597"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fr-fr" sz="1100" b="1" i="0" u="none" strike="noStrike" kern="1200" cap="none" spc="0" normalizeH="0" baseline="0" dirty="0">
                <a:ln>
                  <a:noFill/>
                </a:ln>
                <a:solidFill>
                  <a:schemeClr val="tx1"/>
                </a:solidFill>
                <a:effectLst/>
                <a:uLnTx/>
                <a:uFillTx/>
                <a:latin typeface="+mj-lt"/>
                <a:ea typeface="+mn-ea"/>
                <a:cs typeface="Segoe UI Semibold"/>
              </a:rPr>
              <a:t>Produits et services :</a:t>
            </a:r>
            <a:br>
              <a:rPr lang="fr-fr" sz="1100" i="0" u="none" strike="noStrike" kern="1200" cap="none" spc="0" normalizeH="0" baseline="0" dirty="0">
                <a:ln>
                  <a:noFill/>
                </a:ln>
                <a:effectLst/>
                <a:uLnTx/>
                <a:uFillTx/>
                <a:latin typeface="+mn-lt"/>
                <a:cs typeface="Segoe UI Semibold" panose="020B0502040204020203" pitchFamily="34" charset="0"/>
              </a:rPr>
            </a:br>
            <a:r>
              <a:rPr kumimoji="0" lang="fr-fr" sz="1100" b="0" i="0" u="none" strike="noStrike" kern="1200" cap="none" spc="0" normalizeH="0" baseline="0" dirty="0">
                <a:ln>
                  <a:noFill/>
                </a:ln>
                <a:solidFill>
                  <a:schemeClr val="tx1"/>
                </a:solidFill>
                <a:effectLst/>
                <a:uLnTx/>
                <a:uFillTx/>
                <a:latin typeface="+mn-lt"/>
                <a:ea typeface="+mn-ea"/>
                <a:cs typeface="Segoe UI Semilight"/>
              </a:rPr>
              <a:t>Microsoft Dynamics 365</a:t>
            </a:r>
            <a:endParaRPr lang="fr-fr" sz="1100" b="0" i="0" u="none" strike="noStrike" kern="1200" cap="none" spc="0" normalizeH="0" baseline="0" dirty="0">
              <a:ln>
                <a:noFill/>
              </a:ln>
              <a:solidFill>
                <a:schemeClr val="tx1"/>
              </a:solidFill>
              <a:effectLst/>
              <a:uLnTx/>
              <a:uFillTx/>
              <a:latin typeface="+mn-lt"/>
              <a:cs typeface="Segoe UI Semilight"/>
            </a:endParaRPr>
          </a:p>
          <a:p>
            <a:pPr marL="0" marR="0" lvl="0" indent="0" algn="l" defTabSz="93259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100" b="0" i="0" u="none" strike="noStrike" kern="1200" cap="none" spc="0" normalizeH="0" baseline="0" dirty="0">
                <a:ln>
                  <a:noFill/>
                </a:ln>
                <a:solidFill>
                  <a:schemeClr val="tx1"/>
                </a:solidFill>
                <a:effectLst/>
                <a:uLnTx/>
                <a:uFillTx/>
                <a:latin typeface="+mn-lt"/>
                <a:ea typeface="+mn-ea"/>
                <a:cs typeface="Segoe UI Semilight"/>
              </a:rPr>
              <a:t>Dynamics 365 Sales</a:t>
            </a:r>
            <a:endParaRPr lang="fr-fr" sz="1100" b="0" i="0" u="none" strike="noStrike" kern="1200" cap="none" spc="0" normalizeH="0" baseline="0" dirty="0">
              <a:ln>
                <a:noFill/>
              </a:ln>
              <a:solidFill>
                <a:schemeClr val="tx1"/>
              </a:solidFill>
              <a:effectLst/>
              <a:uLnTx/>
              <a:uFillTx/>
              <a:latin typeface="+mn-lt"/>
              <a:cs typeface="Segoe UI Semilight"/>
            </a:endParaRPr>
          </a:p>
          <a:p>
            <a:pPr marL="0" marR="0" lvl="0" indent="0" algn="l" defTabSz="93259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100" b="0" i="0" u="none" strike="noStrike" kern="1200" cap="none" spc="0" normalizeH="0" baseline="0" dirty="0">
                <a:ln>
                  <a:noFill/>
                </a:ln>
                <a:solidFill>
                  <a:schemeClr val="tx1"/>
                </a:solidFill>
                <a:effectLst/>
                <a:uLnTx/>
                <a:uFillTx/>
                <a:latin typeface="+mn-lt"/>
                <a:ea typeface="+mn-ea"/>
                <a:cs typeface="Segoe UI Semilight"/>
              </a:rPr>
              <a:t>Dynamics 365 Sales Insights</a:t>
            </a:r>
            <a:br>
              <a:rPr lang="fr-fr" sz="1100" b="0" i="0" u="none" strike="noStrike" kern="1200" cap="none" spc="0" normalizeH="0" baseline="0" dirty="0">
                <a:ln>
                  <a:noFill/>
                </a:ln>
                <a:effectLst/>
                <a:uLnTx/>
                <a:uFillTx/>
                <a:latin typeface="+mn-lt"/>
                <a:cs typeface="Segoe UI Semilight" panose="020B0402040204020203" pitchFamily="34" charset="0"/>
              </a:rPr>
            </a:br>
            <a:r>
              <a:rPr kumimoji="0" lang="fr-fr" sz="1100" b="0" i="0" u="none" strike="noStrike" kern="1200" cap="none" spc="0" normalizeH="0" baseline="0" dirty="0">
                <a:ln>
                  <a:noFill/>
                </a:ln>
                <a:solidFill>
                  <a:schemeClr val="tx1"/>
                </a:solidFill>
                <a:effectLst/>
                <a:uLnTx/>
                <a:uFillTx/>
                <a:latin typeface="+mn-lt"/>
                <a:ea typeface="+mn-ea"/>
                <a:cs typeface="Segoe UI Semilight"/>
              </a:rPr>
              <a:t>Microsoft Teams</a:t>
            </a:r>
            <a:endParaRPr lang="fr-fr" sz="1100" b="0" i="0" u="none" strike="noStrike" kern="1200" cap="none" spc="0" normalizeH="0" baseline="0" dirty="0">
              <a:ln>
                <a:noFill/>
              </a:ln>
              <a:solidFill>
                <a:schemeClr val="tx1"/>
              </a:solidFill>
              <a:effectLst/>
              <a:uLnTx/>
              <a:uFillTx/>
              <a:latin typeface="+mn-lt"/>
              <a:cs typeface="Segoe UI Semilight"/>
            </a:endParaRPr>
          </a:p>
          <a:p>
            <a:pPr marL="0" marR="0" lvl="0" indent="0" algn="l" defTabSz="93259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100" b="0" i="0" u="none" strike="noStrike" kern="1200" cap="none" spc="0" normalizeH="0" baseline="0" dirty="0">
                <a:ln>
                  <a:noFill/>
                </a:ln>
                <a:solidFill>
                  <a:schemeClr val="tx1"/>
                </a:solidFill>
                <a:effectLst/>
                <a:uLnTx/>
                <a:uFillTx/>
                <a:latin typeface="+mn-lt"/>
                <a:ea typeface="+mn-ea"/>
                <a:cs typeface="Segoe UI Semilight"/>
              </a:rPr>
              <a:t>LinkedIn Sales Navigator</a:t>
            </a:r>
            <a:endParaRPr lang="fr-fr" sz="1100" b="0" i="0" u="none" strike="noStrike" kern="1200" cap="none" spc="0" normalizeH="0" baseline="0" dirty="0">
              <a:ln>
                <a:noFill/>
              </a:ln>
              <a:solidFill>
                <a:schemeClr val="tx1"/>
              </a:solidFill>
              <a:effectLst/>
              <a:uLnTx/>
              <a:uFillTx/>
              <a:latin typeface="+mn-lt"/>
              <a:cs typeface="Segoe UI Semilight"/>
            </a:endParaRPr>
          </a:p>
          <a:p>
            <a:pPr lvl="0">
              <a:spcBef>
                <a:spcPts val="1200"/>
              </a:spcBef>
              <a:defRPr/>
            </a:pPr>
            <a:r>
              <a:rPr lang="fr-FR" sz="1100" dirty="0">
                <a:latin typeface="Segoe UI Semibold"/>
                <a:cs typeface="Segoe UI Semibold"/>
                <a:hlinkClick r:id="rId4"/>
              </a:rPr>
              <a:t>Consultez toute l’histoire ici</a:t>
            </a:r>
            <a:endParaRPr lang="fr-fr" sz="1100" b="1" i="0" u="none" strike="noStrike" kern="1200" cap="none" spc="0" normalizeH="0" baseline="0" noProof="0">
              <a:ln>
                <a:noFill/>
              </a:ln>
              <a:effectLst/>
              <a:uLnTx/>
              <a:uFillTx/>
              <a:latin typeface="Segoe UI Semibold"/>
              <a:cs typeface="Segoe UI Semibold"/>
            </a:endParaRPr>
          </a:p>
        </p:txBody>
      </p:sp>
      <p:pic>
        <p:nvPicPr>
          <p:cNvPr id="3" name="Picture 2">
            <a:extLst>
              <a:ext uri="{FF2B5EF4-FFF2-40B4-BE49-F238E27FC236}">
                <a16:creationId xmlns:a16="http://schemas.microsoft.com/office/drawing/2014/main" id="{CA2FF936-FE38-46BF-B619-6BB3729EEB37}"/>
              </a:ext>
            </a:extLst>
          </p:cNvPr>
          <p:cNvPicPr>
            <a:picLocks noChangeAspect="1"/>
          </p:cNvPicPr>
          <p:nvPr/>
        </p:nvPicPr>
        <p:blipFill rotWithShape="1">
          <a:blip r:embed="rId5"/>
          <a:srcRect l="22263"/>
          <a:stretch/>
        </p:blipFill>
        <p:spPr>
          <a:xfrm>
            <a:off x="7724775" y="0"/>
            <a:ext cx="4711699" cy="3356987"/>
          </a:xfrm>
          <a:prstGeom prst="rect">
            <a:avLst/>
          </a:prstGeom>
        </p:spPr>
      </p:pic>
      <p:sp>
        <p:nvSpPr>
          <p:cNvPr id="52" name="Text Placeholder 1">
            <a:extLst>
              <a:ext uri="{FF2B5EF4-FFF2-40B4-BE49-F238E27FC236}">
                <a16:creationId xmlns:a16="http://schemas.microsoft.com/office/drawing/2014/main" id="{50B98C15-7843-4B54-8A89-F219628CFDBB}"/>
              </a:ext>
            </a:extLst>
          </p:cNvPr>
          <p:cNvSpPr txBox="1">
            <a:spLocks/>
          </p:cNvSpPr>
          <p:nvPr/>
        </p:nvSpPr>
        <p:spPr>
          <a:xfrm>
            <a:off x="3179677" y="588418"/>
            <a:ext cx="4253341" cy="2459581"/>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Bef>
                <a:spcPts val="0"/>
              </a:spcBef>
              <a:buNone/>
            </a:pPr>
            <a:r>
              <a:rPr lang="fr-fr" sz="1800" b="0" i="0" u="none" baseline="0" dirty="0">
                <a:cs typeface="Segoe UI"/>
              </a:rPr>
              <a:t>Par le passé, nous avons dû relever le </a:t>
            </a:r>
            <a:br>
              <a:rPr lang="fr-fr" sz="1800" b="0" i="0" u="none" baseline="0" dirty="0"/>
            </a:br>
            <a:r>
              <a:rPr lang="fr-fr" sz="1800" b="0" i="0" u="none" baseline="0" dirty="0">
                <a:cs typeface="Segoe UI"/>
              </a:rPr>
              <a:t>défi de servir les clients et d</a:t>
            </a:r>
            <a:r>
              <a:rPr lang="fr-FR" sz="1800" b="0" i="0" u="none" baseline="0" dirty="0">
                <a:cs typeface="Segoe UI"/>
              </a:rPr>
              <a:t>’</a:t>
            </a:r>
            <a:r>
              <a:rPr lang="fr-fr" sz="1800" b="0" i="0" u="none" baseline="0" dirty="0">
                <a:cs typeface="Segoe UI"/>
              </a:rPr>
              <a:t>établir des relations solides à grande échelle. Comment pouvons-nous aider nos vendeurs à toucher davantage de clients </a:t>
            </a:r>
            <a:br>
              <a:rPr lang="fr-fr" sz="1800" b="0" i="0" u="none" baseline="0" dirty="0"/>
            </a:br>
            <a:r>
              <a:rPr lang="fr-fr" sz="1800" b="0" i="0" u="none" baseline="0" dirty="0">
                <a:cs typeface="Segoe UI"/>
              </a:rPr>
              <a:t>à distance, tout en préservant la richesse et la personnalisation des discussions ? Les fonctionnalités d</a:t>
            </a:r>
            <a:r>
              <a:rPr lang="fr-FR" sz="1800" b="0" i="0" u="none" baseline="0" dirty="0">
                <a:cs typeface="Segoe UI"/>
              </a:rPr>
              <a:t>’</a:t>
            </a:r>
            <a:r>
              <a:rPr lang="fr-fr" sz="1800" b="0" i="0" u="none" baseline="0" dirty="0">
                <a:cs typeface="Segoe UI"/>
              </a:rPr>
              <a:t>AI de Dynamics 365 nous ont permis de relever ce défi.</a:t>
            </a:r>
          </a:p>
        </p:txBody>
      </p:sp>
      <p:sp>
        <p:nvSpPr>
          <p:cNvPr id="53" name="Text Placeholder 3">
            <a:extLst>
              <a:ext uri="{FF2B5EF4-FFF2-40B4-BE49-F238E27FC236}">
                <a16:creationId xmlns:a16="http://schemas.microsoft.com/office/drawing/2014/main" id="{DFF179E7-2C5D-4D10-8096-A45939F52A2A}"/>
              </a:ext>
            </a:extLst>
          </p:cNvPr>
          <p:cNvSpPr txBox="1">
            <a:spLocks/>
          </p:cNvSpPr>
          <p:nvPr/>
        </p:nvSpPr>
        <p:spPr>
          <a:xfrm>
            <a:off x="3179677" y="3556000"/>
            <a:ext cx="7685947" cy="200025"/>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2000" b="0" i="0" u="none" baseline="0" dirty="0">
                <a:solidFill>
                  <a:schemeClr val="bg1"/>
                </a:solidFill>
                <a:latin typeface="+mj-lt"/>
                <a:cs typeface="+mn-cs"/>
              </a:rPr>
              <a:t>Chris Weber, </a:t>
            </a:r>
            <a:r>
              <a:rPr lang="fr-fr" sz="1400" b="0" i="0" u="none" baseline="0" dirty="0" err="1">
                <a:solidFill>
                  <a:schemeClr val="bg1"/>
                </a:solidFill>
                <a:cs typeface="+mn-cs"/>
              </a:rPr>
              <a:t>Corporate</a:t>
            </a:r>
            <a:r>
              <a:rPr lang="fr-fr" sz="1400" b="0" i="0" u="none" baseline="0" dirty="0">
                <a:solidFill>
                  <a:schemeClr val="bg1"/>
                </a:solidFill>
                <a:cs typeface="+mn-cs"/>
              </a:rPr>
              <a:t> Vice </a:t>
            </a:r>
            <a:r>
              <a:rPr lang="fr-fr" sz="1400" b="0" i="0" u="none" baseline="0" dirty="0" err="1">
                <a:solidFill>
                  <a:schemeClr val="bg1"/>
                </a:solidFill>
                <a:cs typeface="+mn-cs"/>
              </a:rPr>
              <a:t>President</a:t>
            </a:r>
            <a:r>
              <a:rPr lang="fr-fr" sz="1400" b="0" i="0" u="none" baseline="0" dirty="0">
                <a:solidFill>
                  <a:schemeClr val="bg1"/>
                </a:solidFill>
                <a:cs typeface="+mn-cs"/>
              </a:rPr>
              <a:t>, Worldwide Commercial Business, Microsoft</a:t>
            </a:r>
            <a:endParaRPr lang="fr-fr" sz="1400" b="0" i="0" u="none" baseline="0" dirty="0">
              <a:solidFill>
                <a:schemeClr val="bg1"/>
              </a:solidFill>
              <a:cs typeface="Segoe UI"/>
            </a:endParaRPr>
          </a:p>
        </p:txBody>
      </p:sp>
      <p:sp>
        <p:nvSpPr>
          <p:cNvPr id="8" name="Oval 7">
            <a:extLst>
              <a:ext uri="{FF2B5EF4-FFF2-40B4-BE49-F238E27FC236}">
                <a16:creationId xmlns:a16="http://schemas.microsoft.com/office/drawing/2014/main" id="{7309D0DE-E05D-463C-AED5-65773AEF3DE2}"/>
              </a:ext>
            </a:extLst>
          </p:cNvPr>
          <p:cNvSpPr/>
          <p:nvPr/>
        </p:nvSpPr>
        <p:spPr bwMode="auto">
          <a:xfrm>
            <a:off x="2697164"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54" name="Text Placeholder 3">
            <a:extLst>
              <a:ext uri="{FF2B5EF4-FFF2-40B4-BE49-F238E27FC236}">
                <a16:creationId xmlns:a16="http://schemas.microsoft.com/office/drawing/2014/main" id="{64B426F1-A159-4CBE-A301-F40C271050EF}"/>
              </a:ext>
            </a:extLst>
          </p:cNvPr>
          <p:cNvSpPr txBox="1">
            <a:spLocks/>
          </p:cNvSpPr>
          <p:nvPr/>
        </p:nvSpPr>
        <p:spPr>
          <a:xfrm>
            <a:off x="3304370"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Situation</a:t>
            </a:r>
          </a:p>
        </p:txBody>
      </p:sp>
      <p:sp>
        <p:nvSpPr>
          <p:cNvPr id="55" name="Text Placeholder 11">
            <a:extLst>
              <a:ext uri="{FF2B5EF4-FFF2-40B4-BE49-F238E27FC236}">
                <a16:creationId xmlns:a16="http://schemas.microsoft.com/office/drawing/2014/main" id="{23FBDA08-A4A7-42A7-93FE-859A95C6975D}"/>
              </a:ext>
            </a:extLst>
          </p:cNvPr>
          <p:cNvSpPr txBox="1">
            <a:spLocks/>
          </p:cNvSpPr>
          <p:nvPr/>
        </p:nvSpPr>
        <p:spPr>
          <a:xfrm>
            <a:off x="5679867" y="4765779"/>
            <a:ext cx="2832104"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300" b="0" i="0" u="none" baseline="0" dirty="0">
                <a:cs typeface="Segoe UI"/>
              </a:rPr>
              <a:t>Pour répondre à l</a:t>
            </a:r>
            <a:r>
              <a:rPr lang="fr-FR" sz="1300" b="0" i="0" u="none" baseline="0" dirty="0">
                <a:cs typeface="Segoe UI"/>
              </a:rPr>
              <a:t>’</a:t>
            </a:r>
            <a:r>
              <a:rPr lang="fr-fr" sz="1300" b="0" i="0" u="none" baseline="0" dirty="0">
                <a:cs typeface="Segoe UI"/>
              </a:rPr>
              <a:t>augmentation </a:t>
            </a:r>
            <a:br>
              <a:rPr lang="fr-fr" sz="1300" b="0" i="0" u="none" baseline="0" dirty="0"/>
            </a:br>
            <a:r>
              <a:rPr lang="fr-fr" sz="1300" b="0" i="0" u="none" baseline="0" dirty="0">
                <a:cs typeface="Segoe UI"/>
              </a:rPr>
              <a:t>de la demande et stimuler la productivité des vendeurs, Microsoft Digital Sales a fait appel à Microsoft Dynamics 365 Sales et Sales Insights. Les vendeurs utilisent un espace de travail numérique pour se concentrer sur les activités et les acheteurs les plus importants tout en établissant des relations avec les clients.</a:t>
            </a:r>
          </a:p>
        </p:txBody>
      </p:sp>
      <p:sp>
        <p:nvSpPr>
          <p:cNvPr id="56" name="Text Placeholder 14">
            <a:extLst>
              <a:ext uri="{FF2B5EF4-FFF2-40B4-BE49-F238E27FC236}">
                <a16:creationId xmlns:a16="http://schemas.microsoft.com/office/drawing/2014/main" id="{38225398-52D3-4479-BEDC-ED879D5327F6}"/>
              </a:ext>
            </a:extLst>
          </p:cNvPr>
          <p:cNvSpPr txBox="1">
            <a:spLocks/>
          </p:cNvSpPr>
          <p:nvPr/>
        </p:nvSpPr>
        <p:spPr>
          <a:xfrm>
            <a:off x="8717327" y="4765779"/>
            <a:ext cx="3112723"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fr-fr" sz="1300" b="0" i="0" u="none" baseline="0" dirty="0">
                <a:cs typeface="Segoe UI"/>
              </a:rPr>
              <a:t>Depuis que Microsoft a déployé Dynamics 365 au sein de son équipe Digital Sales, les revenus de ce segment ont augmenté de façon constante au cours des trois dernières années, et le coût des ventes a reculé de 10 %. Plus important encore, l</a:t>
            </a:r>
            <a:r>
              <a:rPr lang="fr-FR" sz="1300" b="0" i="0" u="none" baseline="0" dirty="0">
                <a:cs typeface="Segoe UI"/>
              </a:rPr>
              <a:t>’</a:t>
            </a:r>
            <a:r>
              <a:rPr lang="fr-fr" sz="1300" b="0" i="0" u="none" baseline="0" dirty="0">
                <a:cs typeface="Segoe UI"/>
              </a:rPr>
              <a:t>entreprise offre à ses clients une expérience personnalisée à grande échelle.</a:t>
            </a:r>
            <a:r>
              <a:rPr lang="fr-fr" sz="1300" dirty="0">
                <a:cs typeface="Segoe UI"/>
              </a:rPr>
              <a:t> </a:t>
            </a:r>
            <a:endParaRPr lang="fr-fr" sz="1300" b="0" i="0" u="none" baseline="0" dirty="0"/>
          </a:p>
        </p:txBody>
      </p:sp>
      <p:sp>
        <p:nvSpPr>
          <p:cNvPr id="57" name="Text Placeholder 4">
            <a:extLst>
              <a:ext uri="{FF2B5EF4-FFF2-40B4-BE49-F238E27FC236}">
                <a16:creationId xmlns:a16="http://schemas.microsoft.com/office/drawing/2014/main" id="{96C70EF6-9268-4D29-B358-82CFE42FFF65}"/>
              </a:ext>
            </a:extLst>
          </p:cNvPr>
          <p:cNvSpPr txBox="1">
            <a:spLocks/>
          </p:cNvSpPr>
          <p:nvPr/>
        </p:nvSpPr>
        <p:spPr>
          <a:xfrm>
            <a:off x="2794143" y="4765779"/>
            <a:ext cx="2707171"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300" b="0" i="0" u="none" baseline="0" dirty="0">
                <a:cs typeface="Segoe UI"/>
              </a:rPr>
              <a:t>Les clients étant toujours plus nombreux à acheter en ligne, le volume de demandes générées </a:t>
            </a:r>
            <a:br>
              <a:rPr lang="fr-fr" sz="1300" b="0" i="0" u="none" baseline="0" dirty="0"/>
            </a:br>
            <a:r>
              <a:rPr lang="fr-fr" sz="1300" b="0" i="0" u="none" baseline="0" dirty="0">
                <a:cs typeface="Segoe UI"/>
              </a:rPr>
              <a:t>a augmenté de manière</a:t>
            </a:r>
            <a:r>
              <a:rPr lang="th-TH" sz="1300" b="0" i="0" u="none" baseline="0" dirty="0"/>
              <a:t> </a:t>
            </a:r>
            <a:r>
              <a:rPr lang="fr-fr" sz="1300" b="0" i="0" u="none" baseline="0" dirty="0">
                <a:cs typeface="Segoe UI"/>
              </a:rPr>
              <a:t>exponentielle.</a:t>
            </a:r>
            <a:r>
              <a:rPr lang="th-TH" sz="1300" dirty="0"/>
              <a:t> </a:t>
            </a:r>
            <a:r>
              <a:rPr lang="fr-fr" sz="1300" b="0" i="0" u="none" baseline="0" dirty="0">
                <a:cs typeface="Segoe UI"/>
              </a:rPr>
              <a:t>Les vendeurs doivent rapidement mieux comprendre leurs clients et faire des choix complexes quant aux clients avec lesquels rentrer en contact, quand, et</a:t>
            </a:r>
            <a:r>
              <a:rPr lang="th-TH" sz="1300" b="0" i="0" u="none" baseline="0" dirty="0"/>
              <a:t> </a:t>
            </a:r>
            <a:r>
              <a:rPr lang="fr-fr" sz="1300" b="0" i="0" u="none" baseline="0" dirty="0">
                <a:cs typeface="Segoe UI"/>
              </a:rPr>
              <a:t>comment.</a:t>
            </a:r>
          </a:p>
        </p:txBody>
      </p:sp>
      <p:sp>
        <p:nvSpPr>
          <p:cNvPr id="59" name="Oval 58">
            <a:extLst>
              <a:ext uri="{FF2B5EF4-FFF2-40B4-BE49-F238E27FC236}">
                <a16:creationId xmlns:a16="http://schemas.microsoft.com/office/drawing/2014/main" id="{EE7BF6CA-42F3-4D8B-97A7-8E838FB3ABC1}"/>
              </a:ext>
            </a:extLst>
          </p:cNvPr>
          <p:cNvSpPr/>
          <p:nvPr/>
        </p:nvSpPr>
        <p:spPr bwMode="auto">
          <a:xfrm>
            <a:off x="5679868"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0" name="Text Placeholder 3">
            <a:extLst>
              <a:ext uri="{FF2B5EF4-FFF2-40B4-BE49-F238E27FC236}">
                <a16:creationId xmlns:a16="http://schemas.microsoft.com/office/drawing/2014/main" id="{0E6F81F8-4948-49FC-A077-713B65072450}"/>
              </a:ext>
            </a:extLst>
          </p:cNvPr>
          <p:cNvSpPr txBox="1">
            <a:spLocks/>
          </p:cNvSpPr>
          <p:nvPr/>
        </p:nvSpPr>
        <p:spPr>
          <a:xfrm>
            <a:off x="6287074"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Solution</a:t>
            </a:r>
          </a:p>
        </p:txBody>
      </p:sp>
      <p:sp>
        <p:nvSpPr>
          <p:cNvPr id="61" name="Oval 60">
            <a:extLst>
              <a:ext uri="{FF2B5EF4-FFF2-40B4-BE49-F238E27FC236}">
                <a16:creationId xmlns:a16="http://schemas.microsoft.com/office/drawing/2014/main" id="{3A6EDD5F-944A-4089-8B28-DE329DDFBB11}"/>
              </a:ext>
            </a:extLst>
          </p:cNvPr>
          <p:cNvSpPr/>
          <p:nvPr/>
        </p:nvSpPr>
        <p:spPr bwMode="auto">
          <a:xfrm>
            <a:off x="8717327"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2" name="Text Placeholder 3">
            <a:extLst>
              <a:ext uri="{FF2B5EF4-FFF2-40B4-BE49-F238E27FC236}">
                <a16:creationId xmlns:a16="http://schemas.microsoft.com/office/drawing/2014/main" id="{0F403243-F84F-47FF-94D7-1BF7FE6A7220}"/>
              </a:ext>
            </a:extLst>
          </p:cNvPr>
          <p:cNvSpPr txBox="1">
            <a:spLocks/>
          </p:cNvSpPr>
          <p:nvPr/>
        </p:nvSpPr>
        <p:spPr>
          <a:xfrm>
            <a:off x="9324533"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Impact</a:t>
            </a:r>
          </a:p>
        </p:txBody>
      </p:sp>
      <p:cxnSp>
        <p:nvCxnSpPr>
          <p:cNvPr id="63" name="Straight Connector 62">
            <a:extLst>
              <a:ext uri="{FF2B5EF4-FFF2-40B4-BE49-F238E27FC236}">
                <a16:creationId xmlns:a16="http://schemas.microsoft.com/office/drawing/2014/main" id="{C36D0F39-776F-493D-8A48-98640FAFA2DD}"/>
              </a:ext>
            </a:extLst>
          </p:cNvPr>
          <p:cNvCxnSpPr>
            <a:cxnSpLocks/>
          </p:cNvCxnSpPr>
          <p:nvPr/>
        </p:nvCxnSpPr>
        <p:spPr>
          <a:xfrm>
            <a:off x="5577190" y="4128788"/>
            <a:ext cx="0" cy="2595862"/>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95220DD-6DC0-4EE6-9959-B9C24731CC95}"/>
              </a:ext>
            </a:extLst>
          </p:cNvPr>
          <p:cNvCxnSpPr>
            <a:cxnSpLocks/>
          </p:cNvCxnSpPr>
          <p:nvPr/>
        </p:nvCxnSpPr>
        <p:spPr>
          <a:xfrm>
            <a:off x="8614648" y="4128788"/>
            <a:ext cx="0" cy="2595862"/>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66" name="POI_ECAF" title="Icon of a map location marker">
            <a:extLst>
              <a:ext uri="{FF2B5EF4-FFF2-40B4-BE49-F238E27FC236}">
                <a16:creationId xmlns:a16="http://schemas.microsoft.com/office/drawing/2014/main" id="{E7E92ECC-5710-49A3-B3CD-78A2433BF176}"/>
              </a:ext>
            </a:extLst>
          </p:cNvPr>
          <p:cNvSpPr>
            <a:spLocks noChangeAspect="1" noEditPoints="1"/>
          </p:cNvSpPr>
          <p:nvPr/>
        </p:nvSpPr>
        <p:spPr bwMode="auto">
          <a:xfrm>
            <a:off x="2857800" y="4230246"/>
            <a:ext cx="197206" cy="3155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67" name="Processing_E9F5" title="Icon of two interlocked gears">
            <a:extLst>
              <a:ext uri="{FF2B5EF4-FFF2-40B4-BE49-F238E27FC236}">
                <a16:creationId xmlns:a16="http://schemas.microsoft.com/office/drawing/2014/main" id="{126FD721-DC2F-46D0-AFE6-2753FCC31A0F}"/>
              </a:ext>
            </a:extLst>
          </p:cNvPr>
          <p:cNvSpPr>
            <a:spLocks noChangeAspect="1" noEditPoints="1"/>
          </p:cNvSpPr>
          <p:nvPr/>
        </p:nvSpPr>
        <p:spPr bwMode="auto">
          <a:xfrm>
            <a:off x="5775215" y="4245288"/>
            <a:ext cx="327783" cy="28547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68" name="check" title="Icon of a checkmark">
            <a:extLst>
              <a:ext uri="{FF2B5EF4-FFF2-40B4-BE49-F238E27FC236}">
                <a16:creationId xmlns:a16="http://schemas.microsoft.com/office/drawing/2014/main" id="{6A6C50D8-C67E-48D8-A071-4EE1E8A40BDB}"/>
              </a:ext>
            </a:extLst>
          </p:cNvPr>
          <p:cNvSpPr>
            <a:spLocks noChangeAspect="1"/>
          </p:cNvSpPr>
          <p:nvPr/>
        </p:nvSpPr>
        <p:spPr bwMode="auto">
          <a:xfrm>
            <a:off x="8834528" y="4287732"/>
            <a:ext cx="284074" cy="200589"/>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16495437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C662C4F0-5689-496B-A323-0D27CCBDCCC5}"/>
              </a:ext>
            </a:extLst>
          </p:cNvPr>
          <p:cNvSpPr/>
          <p:nvPr/>
        </p:nvSpPr>
        <p:spPr bwMode="auto">
          <a:xfrm>
            <a:off x="2546020" y="0"/>
            <a:ext cx="555995" cy="3398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482035DD-3457-409F-8FC8-77868C094947}"/>
              </a:ext>
            </a:extLst>
          </p:cNvPr>
          <p:cNvSpPr/>
          <p:nvPr/>
        </p:nvSpPr>
        <p:spPr bwMode="auto">
          <a:xfrm>
            <a:off x="2546020" y="3398520"/>
            <a:ext cx="9890455" cy="1325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pic>
        <p:nvPicPr>
          <p:cNvPr id="51" name="Picture 50">
            <a:extLst>
              <a:ext uri="{FF2B5EF4-FFF2-40B4-BE49-F238E27FC236}">
                <a16:creationId xmlns:a16="http://schemas.microsoft.com/office/drawing/2014/main" id="{851040E8-23D3-45D1-9B3E-43429D469F3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427" r="44382" b="1080"/>
          <a:stretch/>
        </p:blipFill>
        <p:spPr bwMode="auto">
          <a:xfrm>
            <a:off x="7724775" y="1"/>
            <a:ext cx="4711699" cy="3356987"/>
          </a:xfrm>
          <a:custGeom>
            <a:avLst/>
            <a:gdLst>
              <a:gd name="connsiteX0" fmla="*/ 0 w 4711699"/>
              <a:gd name="connsiteY0" fmla="*/ 0 h 3356987"/>
              <a:gd name="connsiteX1" fmla="*/ 4711699 w 4711699"/>
              <a:gd name="connsiteY1" fmla="*/ 0 h 3356987"/>
              <a:gd name="connsiteX2" fmla="*/ 4711699 w 4711699"/>
              <a:gd name="connsiteY2" fmla="*/ 3356987 h 3356987"/>
              <a:gd name="connsiteX3" fmla="*/ 0 w 4711699"/>
              <a:gd name="connsiteY3" fmla="*/ 3356987 h 3356987"/>
            </a:gdLst>
            <a:ahLst/>
            <a:cxnLst>
              <a:cxn ang="0">
                <a:pos x="connsiteX0" y="connsiteY0"/>
              </a:cxn>
              <a:cxn ang="0">
                <a:pos x="connsiteX1" y="connsiteY1"/>
              </a:cxn>
              <a:cxn ang="0">
                <a:pos x="connsiteX2" y="connsiteY2"/>
              </a:cxn>
              <a:cxn ang="0">
                <a:pos x="connsiteX3" y="connsiteY3"/>
              </a:cxn>
            </a:cxnLst>
            <a:rect l="l" t="t" r="r" b="b"/>
            <a:pathLst>
              <a:path w="4711699" h="3356987">
                <a:moveTo>
                  <a:pt x="0" y="0"/>
                </a:moveTo>
                <a:lnTo>
                  <a:pt x="4711699" y="0"/>
                </a:lnTo>
                <a:lnTo>
                  <a:pt x="4711699" y="3356987"/>
                </a:lnTo>
                <a:lnTo>
                  <a:pt x="0" y="3356987"/>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16">
            <a:extLst>
              <a:ext uri="{FF2B5EF4-FFF2-40B4-BE49-F238E27FC236}">
                <a16:creationId xmlns:a16="http://schemas.microsoft.com/office/drawing/2014/main" id="{6348D137-F268-4875-9F84-884FB3226A8F}"/>
              </a:ext>
            </a:extLst>
          </p:cNvPr>
          <p:cNvSpPr/>
          <p:nvPr/>
        </p:nvSpPr>
        <p:spPr bwMode="auto">
          <a:xfrm flipH="1" flipV="1">
            <a:off x="2810256" y="3755136"/>
            <a:ext cx="8766046" cy="245612"/>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20" name="Graphic 12">
            <a:extLst>
              <a:ext uri="{FF2B5EF4-FFF2-40B4-BE49-F238E27FC236}">
                <a16:creationId xmlns:a16="http://schemas.microsoft.com/office/drawing/2014/main" id="{C7D6D595-99BA-4DB9-B007-1ABFB4595AFA}"/>
              </a:ext>
            </a:extLst>
          </p:cNvPr>
          <p:cNvGrpSpPr/>
          <p:nvPr/>
        </p:nvGrpSpPr>
        <p:grpSpPr>
          <a:xfrm flipV="1">
            <a:off x="11451289" y="3536991"/>
            <a:ext cx="246001" cy="172643"/>
            <a:chOff x="5753695" y="3190875"/>
            <a:chExt cx="669726" cy="470014"/>
          </a:xfrm>
          <a:solidFill>
            <a:schemeClr val="bg1"/>
          </a:solidFill>
        </p:grpSpPr>
        <p:sp>
          <p:nvSpPr>
            <p:cNvPr id="21" name="Freeform: Shape 20">
              <a:extLst>
                <a:ext uri="{FF2B5EF4-FFF2-40B4-BE49-F238E27FC236}">
                  <a16:creationId xmlns:a16="http://schemas.microsoft.com/office/drawing/2014/main" id="{D61714D1-717E-47A1-A4DB-8A78327486FC}"/>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solidFill>
                  <a:schemeClr val="bg1"/>
                </a:solidFill>
                <a:cs typeface="Segoe UI"/>
              </a:endParaRPr>
            </a:p>
          </p:txBody>
        </p:sp>
        <p:sp>
          <p:nvSpPr>
            <p:cNvPr id="22" name="Freeform: Shape 21">
              <a:extLst>
                <a:ext uri="{FF2B5EF4-FFF2-40B4-BE49-F238E27FC236}">
                  <a16:creationId xmlns:a16="http://schemas.microsoft.com/office/drawing/2014/main" id="{8EB3C69A-FE01-4A2D-8DB2-E6F9AF56EFA6}"/>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solidFill>
                  <a:schemeClr val="bg1"/>
                </a:solidFill>
                <a:cs typeface="Segoe UI"/>
              </a:endParaRPr>
            </a:p>
          </p:txBody>
        </p:sp>
      </p:grpSp>
      <p:sp>
        <p:nvSpPr>
          <p:cNvPr id="23" name="Freeform: Shape 22">
            <a:extLst>
              <a:ext uri="{FF2B5EF4-FFF2-40B4-BE49-F238E27FC236}">
                <a16:creationId xmlns:a16="http://schemas.microsoft.com/office/drawing/2014/main" id="{18E567C4-BEB1-4562-8D11-1C31F67934AB}"/>
              </a:ext>
            </a:extLst>
          </p:cNvPr>
          <p:cNvSpPr/>
          <p:nvPr/>
        </p:nvSpPr>
        <p:spPr bwMode="auto">
          <a:xfrm>
            <a:off x="2810257" y="478631"/>
            <a:ext cx="4914516" cy="234601"/>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26" name="Graphic 12">
            <a:extLst>
              <a:ext uri="{FF2B5EF4-FFF2-40B4-BE49-F238E27FC236}">
                <a16:creationId xmlns:a16="http://schemas.microsoft.com/office/drawing/2014/main" id="{0AF6F436-20E1-42B3-B76D-31BD600A7E8B}"/>
              </a:ext>
            </a:extLst>
          </p:cNvPr>
          <p:cNvGrpSpPr/>
          <p:nvPr/>
        </p:nvGrpSpPr>
        <p:grpSpPr>
          <a:xfrm flipH="1">
            <a:off x="2686591" y="769744"/>
            <a:ext cx="246001" cy="172643"/>
            <a:chOff x="5753695" y="3190875"/>
            <a:chExt cx="669726" cy="470014"/>
          </a:xfrm>
          <a:solidFill>
            <a:schemeClr val="bg1"/>
          </a:solidFill>
        </p:grpSpPr>
        <p:sp>
          <p:nvSpPr>
            <p:cNvPr id="27" name="Freeform: Shape 26">
              <a:extLst>
                <a:ext uri="{FF2B5EF4-FFF2-40B4-BE49-F238E27FC236}">
                  <a16:creationId xmlns:a16="http://schemas.microsoft.com/office/drawing/2014/main" id="{06D5710B-D9AB-4850-8752-9BDE8D549887}"/>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28" name="Freeform: Shape 27">
              <a:extLst>
                <a:ext uri="{FF2B5EF4-FFF2-40B4-BE49-F238E27FC236}">
                  <a16:creationId xmlns:a16="http://schemas.microsoft.com/office/drawing/2014/main" id="{093A1D3C-0E11-4AD1-A439-12B3C1F0E474}"/>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sp>
        <p:nvSpPr>
          <p:cNvPr id="29" name="Rectangle 28">
            <a:extLst>
              <a:ext uri="{FF2B5EF4-FFF2-40B4-BE49-F238E27FC236}">
                <a16:creationId xmlns:a16="http://schemas.microsoft.com/office/drawing/2014/main" id="{16F73167-5B17-44B4-AD65-5B081C56241E}"/>
              </a:ext>
            </a:extLst>
          </p:cNvPr>
          <p:cNvSpPr/>
          <p:nvPr/>
        </p:nvSpPr>
        <p:spPr bwMode="auto">
          <a:xfrm>
            <a:off x="1" y="-1"/>
            <a:ext cx="2470150" cy="6994525"/>
          </a:xfrm>
          <a:prstGeom prst="rect">
            <a:avLst/>
          </a:prstGeom>
          <a:solidFill>
            <a:srgbClr val="E6E6E6"/>
          </a:solidFill>
          <a:ln w="10795" cap="flat" cmpd="sng" algn="ctr">
            <a:noFill/>
            <a:prstDash val="solid"/>
          </a:ln>
          <a:effectLst/>
        </p:spPr>
        <p:txBody>
          <a:bodyPr rtlCol="0" anchor="ctr"/>
          <a:lstStyle/>
          <a:p>
            <a:pPr algn="ctr" defTabSz="913676" rtl="0"/>
            <a:endParaRPr lang="fr-fr" sz="1750" kern="0" dirty="0">
              <a:latin typeface="Segoe UI"/>
              <a:cs typeface="Segoe UI"/>
            </a:endParaRPr>
          </a:p>
        </p:txBody>
      </p:sp>
      <p:cxnSp>
        <p:nvCxnSpPr>
          <p:cNvPr id="30" name="Straight Connector 29">
            <a:extLst>
              <a:ext uri="{FF2B5EF4-FFF2-40B4-BE49-F238E27FC236}">
                <a16:creationId xmlns:a16="http://schemas.microsoft.com/office/drawing/2014/main" id="{688D34B1-105D-42C4-B00C-C25BD0DA1684}"/>
              </a:ext>
            </a:extLst>
          </p:cNvPr>
          <p:cNvCxnSpPr>
            <a:cxnSpLocks/>
          </p:cNvCxnSpPr>
          <p:nvPr/>
        </p:nvCxnSpPr>
        <p:spPr>
          <a:xfrm>
            <a:off x="2546021" y="-1"/>
            <a:ext cx="0" cy="6994525"/>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260CEE37-BF28-4E88-B7E2-DF45529CBAEA}"/>
              </a:ext>
            </a:extLst>
          </p:cNvPr>
          <p:cNvSpPr txBox="1">
            <a:spLocks/>
          </p:cNvSpPr>
          <p:nvPr/>
        </p:nvSpPr>
        <p:spPr>
          <a:xfrm>
            <a:off x="455613" y="2876551"/>
            <a:ext cx="1882919" cy="3181350"/>
          </a:xfrm>
          <a:prstGeom prst="rect">
            <a:avLst/>
          </a:prstGeom>
        </p:spPr>
        <p:txBody>
          <a:bodyPr lIns="0" tIns="0" rIns="0" bIns="0" anchor="t" anchorCtr="0"/>
          <a:lstStyle>
            <a:lvl1pPr marL="0" indent="0" algn="l" defTabSz="932597" rtl="0" eaLnBrk="1" latinLnBrk="0" hangingPunct="1">
              <a:lnSpc>
                <a:spcPct val="100000"/>
              </a:lnSpc>
              <a:spcBef>
                <a:spcPts val="1020"/>
              </a:spcBef>
              <a:buFont typeface="Arial" panose="020B0604020202020204" pitchFamily="34" charset="0"/>
              <a:buNone/>
              <a:defRPr sz="1020" b="1" i="0" kern="1200">
                <a:solidFill>
                  <a:schemeClr val="bg1">
                    <a:lumMod val="50000"/>
                  </a:schemeClr>
                </a:solidFill>
                <a:latin typeface="Segoe UI Semibold" panose="020B0502040204020203" pitchFamily="34" charset="0"/>
                <a:ea typeface="+mn-ea"/>
                <a:cs typeface="Segoe UI Semibold"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algn="l" rtl="0" fontAlgn="auto">
              <a:spcBef>
                <a:spcPts val="1200"/>
              </a:spcBef>
              <a:spcAft>
                <a:spcPts val="0"/>
              </a:spcAft>
              <a:defRPr/>
            </a:pPr>
            <a:r>
              <a:rPr lang="fr-fr" sz="1100" b="1" i="0" u="none" baseline="0" dirty="0">
                <a:solidFill>
                  <a:schemeClr val="tx1"/>
                </a:solidFill>
                <a:latin typeface="Segoe UI Semibold"/>
                <a:cs typeface="Segoe UI Semibold"/>
              </a:rPr>
              <a:t>Client :</a:t>
            </a:r>
            <a:br>
              <a:rPr lang="fr-fr" sz="1100" dirty="0"/>
            </a:br>
            <a:r>
              <a:rPr lang="fr-fr" sz="1100" b="0" i="0" u="none" baseline="0" dirty="0">
                <a:solidFill>
                  <a:schemeClr val="tx1"/>
                </a:solidFill>
                <a:latin typeface="Segoe UI Semilight"/>
                <a:cs typeface="Segoe UI Semilight"/>
              </a:rPr>
              <a:t>Crane Worldwide </a:t>
            </a:r>
            <a:r>
              <a:rPr lang="fr-fr" sz="1100" b="0" i="0" u="none" baseline="0" dirty="0" err="1">
                <a:solidFill>
                  <a:schemeClr val="tx1"/>
                </a:solidFill>
                <a:latin typeface="Segoe UI Semilight"/>
                <a:cs typeface="Segoe UI Semilight"/>
              </a:rPr>
              <a:t>Logistics</a:t>
            </a:r>
            <a:endParaRPr lang="fr-fr" sz="1100" b="0" i="0" u="none" baseline="0" dirty="0">
              <a:solidFill>
                <a:schemeClr val="tx1"/>
              </a:solidFill>
              <a:latin typeface="Segoe UI Semilight"/>
              <a:cs typeface="Segoe UI Semilight"/>
            </a:endParaRPr>
          </a:p>
          <a:p>
            <a:pPr algn="l" rtl="0" fontAlgn="auto">
              <a:spcBef>
                <a:spcPts val="1200"/>
              </a:spcBef>
              <a:spcAft>
                <a:spcPts val="0"/>
              </a:spcAft>
              <a:defRPr/>
            </a:pPr>
            <a:r>
              <a:rPr lang="fr-fr" sz="1100" b="1" i="0" u="none" baseline="0" dirty="0">
                <a:solidFill>
                  <a:schemeClr val="tx1"/>
                </a:solidFill>
                <a:latin typeface="Segoe UI Semibold"/>
                <a:cs typeface="Segoe UI Semibold"/>
              </a:rPr>
              <a:t>Secteur d</a:t>
            </a:r>
            <a:r>
              <a:rPr lang="fr-FR" sz="1100" b="1" i="0" u="none" baseline="0" dirty="0">
                <a:solidFill>
                  <a:schemeClr val="tx1"/>
                </a:solidFill>
                <a:latin typeface="Segoe UI Semibold"/>
                <a:cs typeface="Segoe UI Semibold"/>
              </a:rPr>
              <a:t>’</a:t>
            </a:r>
            <a:r>
              <a:rPr lang="fr-fr" sz="1100" b="1" i="0" u="none" baseline="0" dirty="0">
                <a:solidFill>
                  <a:schemeClr val="tx1"/>
                </a:solidFill>
                <a:latin typeface="Segoe UI Semibold"/>
                <a:cs typeface="Segoe UI Semibold"/>
              </a:rPr>
              <a:t>activité :</a:t>
            </a:r>
            <a:br>
              <a:rPr lang="fr-fr" sz="1100" dirty="0"/>
            </a:br>
            <a:r>
              <a:rPr lang="fr-fr" sz="1100" b="0" i="0" u="none" baseline="0" dirty="0">
                <a:solidFill>
                  <a:schemeClr val="tx1"/>
                </a:solidFill>
                <a:latin typeface="Segoe UI Semilight"/>
                <a:cs typeface="Segoe UI Semilight"/>
              </a:rPr>
              <a:t>Voyage et transport</a:t>
            </a:r>
          </a:p>
          <a:p>
            <a:pPr algn="l" rtl="0" fontAlgn="auto">
              <a:spcBef>
                <a:spcPts val="1200"/>
              </a:spcBef>
              <a:spcAft>
                <a:spcPts val="0"/>
              </a:spcAft>
              <a:defRPr/>
            </a:pPr>
            <a:r>
              <a:rPr lang="fr-fr" sz="1100" b="1" i="0" u="none" baseline="0" dirty="0">
                <a:solidFill>
                  <a:schemeClr val="tx1"/>
                </a:solidFill>
                <a:latin typeface="Segoe UI Semibold"/>
                <a:cs typeface="Segoe UI Semibold"/>
              </a:rPr>
              <a:t>Taille :</a:t>
            </a:r>
            <a:br>
              <a:rPr lang="fr-fr" sz="1100" dirty="0"/>
            </a:br>
            <a:r>
              <a:rPr lang="fr-fr" sz="1100" b="0" i="0" u="none" baseline="0" dirty="0">
                <a:solidFill>
                  <a:schemeClr val="tx1"/>
                </a:solidFill>
                <a:latin typeface="Segoe UI Semilight"/>
                <a:cs typeface="Segoe UI Semilight"/>
              </a:rPr>
              <a:t>Plus de 2000 employés</a:t>
            </a:r>
          </a:p>
          <a:p>
            <a:pPr algn="l" rtl="0" fontAlgn="auto">
              <a:spcBef>
                <a:spcPts val="1200"/>
              </a:spcBef>
              <a:spcAft>
                <a:spcPts val="0"/>
              </a:spcAft>
              <a:defRPr/>
            </a:pPr>
            <a:r>
              <a:rPr lang="fr-fr" sz="1100" b="1" i="0" u="none" baseline="0" dirty="0">
                <a:solidFill>
                  <a:schemeClr val="tx1"/>
                </a:solidFill>
                <a:latin typeface="Segoe UI Semibold"/>
                <a:cs typeface="Segoe UI Semibold"/>
              </a:rPr>
              <a:t>Pays :</a:t>
            </a:r>
            <a:br>
              <a:rPr lang="fr-fr" sz="1100" dirty="0"/>
            </a:br>
            <a:r>
              <a:rPr lang="fr-fr" sz="1100" b="0" i="0" u="none" baseline="0" dirty="0">
                <a:solidFill>
                  <a:schemeClr val="tx1"/>
                </a:solidFill>
                <a:latin typeface="Segoe UI Semilight"/>
                <a:cs typeface="Segoe UI Semilight"/>
              </a:rPr>
              <a:t>États-Unis</a:t>
            </a:r>
          </a:p>
          <a:p>
            <a:pPr algn="l" rtl="0" fontAlgn="auto">
              <a:spcBef>
                <a:spcPts val="1200"/>
              </a:spcBef>
              <a:spcAft>
                <a:spcPts val="0"/>
              </a:spcAft>
              <a:defRPr/>
            </a:pPr>
            <a:r>
              <a:rPr lang="fr-fr" sz="1100" b="1" i="0" u="none" baseline="0" dirty="0">
                <a:solidFill>
                  <a:schemeClr val="tx1"/>
                </a:solidFill>
                <a:latin typeface="Segoe UI Semibold"/>
                <a:cs typeface="Segoe UI Semibold"/>
              </a:rPr>
              <a:t>Produits et services :</a:t>
            </a:r>
            <a:br>
              <a:rPr lang="fr-fr" sz="1100" dirty="0"/>
            </a:br>
            <a:r>
              <a:rPr lang="fr-fr" sz="1100" b="0" i="0" u="none" baseline="0" dirty="0">
                <a:solidFill>
                  <a:schemeClr val="tx1"/>
                </a:solidFill>
                <a:latin typeface="Segoe UI Semilight"/>
                <a:cs typeface="Segoe UI Semilight"/>
              </a:rPr>
              <a:t>Microsoft Dynamics 365</a:t>
            </a:r>
            <a:br>
              <a:rPr lang="fr-fr" sz="1100" b="0" dirty="0">
                <a:latin typeface="Segoe UI Semilight" panose="020B0402040204020203" pitchFamily="34" charset="0"/>
                <a:cs typeface="Segoe UI Semilight" panose="020B0402040204020203" pitchFamily="34" charset="0"/>
              </a:rPr>
            </a:br>
            <a:r>
              <a:rPr lang="fr-fr" sz="1100" b="0" i="0" u="none" baseline="0" dirty="0">
                <a:solidFill>
                  <a:schemeClr val="tx1"/>
                </a:solidFill>
                <a:latin typeface="Segoe UI Semilight"/>
                <a:cs typeface="Segoe UI Semilight"/>
              </a:rPr>
              <a:t>Microsoft Dynamics 365 for Sales</a:t>
            </a:r>
            <a:br>
              <a:rPr lang="fr-fr" sz="1100" b="0" dirty="0">
                <a:latin typeface="Segoe UI Semilight" panose="020B0402040204020203" pitchFamily="34" charset="0"/>
                <a:cs typeface="Segoe UI Semilight" panose="020B0402040204020203" pitchFamily="34" charset="0"/>
              </a:rPr>
            </a:br>
            <a:r>
              <a:rPr lang="fr-fr" sz="1100" b="0" i="0" u="none" baseline="0" dirty="0">
                <a:solidFill>
                  <a:schemeClr val="tx1"/>
                </a:solidFill>
                <a:latin typeface="Segoe UI Semilight"/>
                <a:cs typeface="Segoe UI Semilight"/>
              </a:rPr>
              <a:t>LinkedIn</a:t>
            </a:r>
            <a:br>
              <a:rPr lang="fr-fr" sz="1100" b="0" dirty="0">
                <a:latin typeface="Segoe UI Semilight" panose="020B0402040204020203" pitchFamily="34" charset="0"/>
                <a:cs typeface="Segoe UI Semilight" panose="020B0402040204020203" pitchFamily="34" charset="0"/>
              </a:rPr>
            </a:br>
            <a:r>
              <a:rPr lang="fr-fr" sz="1100" b="0" i="0" u="none" baseline="0" dirty="0">
                <a:solidFill>
                  <a:schemeClr val="tx1"/>
                </a:solidFill>
                <a:latin typeface="Segoe UI Semilight"/>
                <a:cs typeface="Segoe UI Semilight"/>
              </a:rPr>
              <a:t>LinkedIn Sales Navigator</a:t>
            </a:r>
          </a:p>
          <a:p>
            <a:pPr>
              <a:spcBef>
                <a:spcPts val="1200"/>
              </a:spcBef>
              <a:defRPr/>
            </a:pPr>
            <a:r>
              <a:rPr lang="fr-FR" sz="1100" dirty="0">
                <a:latin typeface="Segoe UI Semibold"/>
                <a:cs typeface="Segoe UI Semibold"/>
                <a:hlinkClick r:id="rId4"/>
              </a:rPr>
              <a:t>Consultez toute l’histoire ici</a:t>
            </a:r>
            <a:endParaRPr lang="fr-fr" sz="1100">
              <a:latin typeface="Segoe UI Semibold"/>
              <a:cs typeface="Segoe UI Semibold"/>
            </a:endParaRPr>
          </a:p>
        </p:txBody>
      </p:sp>
      <p:sp>
        <p:nvSpPr>
          <p:cNvPr id="34" name="Text Placeholder 1">
            <a:extLst>
              <a:ext uri="{FF2B5EF4-FFF2-40B4-BE49-F238E27FC236}">
                <a16:creationId xmlns:a16="http://schemas.microsoft.com/office/drawing/2014/main" id="{EBC6C8C9-16A8-450B-B10B-D6403C2F8430}"/>
              </a:ext>
            </a:extLst>
          </p:cNvPr>
          <p:cNvSpPr txBox="1">
            <a:spLocks/>
          </p:cNvSpPr>
          <p:nvPr/>
        </p:nvSpPr>
        <p:spPr>
          <a:xfrm>
            <a:off x="3179677" y="588418"/>
            <a:ext cx="4375675" cy="2459581"/>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Bef>
                <a:spcPts val="0"/>
              </a:spcBef>
              <a:buNone/>
            </a:pPr>
            <a:r>
              <a:rPr lang="fr-fr" sz="1800" b="0" i="0" u="none" baseline="0" dirty="0">
                <a:cs typeface="Segoe UI"/>
              </a:rPr>
              <a:t>Le simple fait que l</a:t>
            </a:r>
            <a:r>
              <a:rPr lang="fr-FR" sz="1800" b="0" i="0" u="none" baseline="0" dirty="0">
                <a:cs typeface="Segoe UI"/>
              </a:rPr>
              <a:t>’</a:t>
            </a:r>
            <a:r>
              <a:rPr lang="fr-fr" sz="1800" b="0" i="0" u="none" baseline="0" dirty="0">
                <a:cs typeface="Segoe UI"/>
              </a:rPr>
              <a:t>équipe utilise la plateforme nous a permis de constater un regain d</a:t>
            </a:r>
            <a:r>
              <a:rPr lang="fr-FR" sz="1800" b="0" i="0" u="none" baseline="0" dirty="0">
                <a:cs typeface="Segoe UI"/>
              </a:rPr>
              <a:t>’</a:t>
            </a:r>
            <a:r>
              <a:rPr lang="fr-fr" sz="1800" b="0" i="0" u="none" baseline="0" dirty="0">
                <a:cs typeface="Segoe UI"/>
              </a:rPr>
              <a:t>activité dans tous les domaines. Nous avons connu une croissance record depuis la mise en œuvre de Microsoft Relationship Sales — le dernier trimestre </a:t>
            </a:r>
            <a:br>
              <a:rPr lang="th-TH" sz="1800" b="0" i="0" u="none" baseline="0" dirty="0"/>
            </a:br>
            <a:r>
              <a:rPr lang="fr-fr" sz="1800" b="0" i="0" u="none" baseline="0" dirty="0">
                <a:cs typeface="Segoe UI"/>
              </a:rPr>
              <a:t>a été pour nous excellent.</a:t>
            </a:r>
          </a:p>
        </p:txBody>
      </p:sp>
      <p:sp>
        <p:nvSpPr>
          <p:cNvPr id="36" name="Oval 35">
            <a:extLst>
              <a:ext uri="{FF2B5EF4-FFF2-40B4-BE49-F238E27FC236}">
                <a16:creationId xmlns:a16="http://schemas.microsoft.com/office/drawing/2014/main" id="{D5A76E62-AE31-4C8A-9F9F-C0B5212C4B50}"/>
              </a:ext>
            </a:extLst>
          </p:cNvPr>
          <p:cNvSpPr/>
          <p:nvPr/>
        </p:nvSpPr>
        <p:spPr bwMode="auto">
          <a:xfrm>
            <a:off x="2697164"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sp>
        <p:nvSpPr>
          <p:cNvPr id="38" name="Text Placeholder 11">
            <a:extLst>
              <a:ext uri="{FF2B5EF4-FFF2-40B4-BE49-F238E27FC236}">
                <a16:creationId xmlns:a16="http://schemas.microsoft.com/office/drawing/2014/main" id="{E5FD69F4-12A9-4CAE-A635-2861716A03A4}"/>
              </a:ext>
            </a:extLst>
          </p:cNvPr>
          <p:cNvSpPr txBox="1">
            <a:spLocks/>
          </p:cNvSpPr>
          <p:nvPr/>
        </p:nvSpPr>
        <p:spPr>
          <a:xfrm>
            <a:off x="5679867" y="4765779"/>
            <a:ext cx="2940592"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300" b="0" i="0" u="none" baseline="0" dirty="0">
                <a:cs typeface="Segoe UI"/>
              </a:rPr>
              <a:t>Crane Worldwide a adopté Microsoft Relationship Sales, qui combine LinkedIn Sales Navigator et Microsoft Dynamics 365 for Sales. Les vendeurs disposent désormais d</a:t>
            </a:r>
            <a:r>
              <a:rPr lang="fr-FR" sz="1300" b="0" i="0" u="none" baseline="0" dirty="0">
                <a:cs typeface="Segoe UI"/>
              </a:rPr>
              <a:t>’</a:t>
            </a:r>
            <a:r>
              <a:rPr lang="fr-fr" sz="1300" b="0" i="0" u="none" baseline="0" dirty="0">
                <a:cs typeface="Segoe UI"/>
              </a:rPr>
              <a:t>un contexte, d</a:t>
            </a:r>
            <a:r>
              <a:rPr lang="fr-FR" sz="1300" b="0" i="0" u="none" baseline="0" dirty="0">
                <a:cs typeface="Segoe UI"/>
              </a:rPr>
              <a:t>’</a:t>
            </a:r>
            <a:r>
              <a:rPr lang="fr-fr" sz="1300" b="0" i="0" u="none" baseline="0" dirty="0">
                <a:cs typeface="Segoe UI"/>
              </a:rPr>
              <a:t>outils et d</a:t>
            </a:r>
            <a:r>
              <a:rPr lang="fr-FR" sz="1300" b="0" i="0" u="none" baseline="0" dirty="0">
                <a:cs typeface="Segoe UI"/>
              </a:rPr>
              <a:t>’</a:t>
            </a:r>
            <a:r>
              <a:rPr lang="fr-fr" sz="1300" b="0" i="0" u="none" baseline="0" dirty="0">
                <a:cs typeface="Segoe UI"/>
              </a:rPr>
              <a:t>informations centralisés, </a:t>
            </a:r>
            <a:br>
              <a:rPr lang="fr-fr" sz="1300" b="0" i="0" u="none" baseline="0" dirty="0"/>
            </a:br>
            <a:r>
              <a:rPr lang="fr-fr" sz="1300" b="0" i="0" u="none" baseline="0" dirty="0">
                <a:cs typeface="Segoe UI"/>
              </a:rPr>
              <a:t>ce qui augmente les chances de conversion dès le départ.</a:t>
            </a:r>
          </a:p>
        </p:txBody>
      </p:sp>
      <p:sp>
        <p:nvSpPr>
          <p:cNvPr id="39" name="Text Placeholder 14">
            <a:extLst>
              <a:ext uri="{FF2B5EF4-FFF2-40B4-BE49-F238E27FC236}">
                <a16:creationId xmlns:a16="http://schemas.microsoft.com/office/drawing/2014/main" id="{6C4CDB05-32B4-4E96-BFB0-491A3C28F911}"/>
              </a:ext>
            </a:extLst>
          </p:cNvPr>
          <p:cNvSpPr txBox="1">
            <a:spLocks/>
          </p:cNvSpPr>
          <p:nvPr/>
        </p:nvSpPr>
        <p:spPr>
          <a:xfrm>
            <a:off x="8717327" y="4765779"/>
            <a:ext cx="3100425"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300" b="0" i="0" u="none" baseline="0" dirty="0">
                <a:cs typeface="Segoe UI"/>
              </a:rPr>
              <a:t>L</a:t>
            </a:r>
            <a:r>
              <a:rPr lang="fr-FR" sz="1300" b="0" i="0" u="none" baseline="0" dirty="0">
                <a:cs typeface="Segoe UI"/>
              </a:rPr>
              <a:t>’</a:t>
            </a:r>
            <a:r>
              <a:rPr lang="fr-fr" sz="1300" b="0" i="0" u="none" baseline="0" dirty="0">
                <a:cs typeface="Segoe UI"/>
              </a:rPr>
              <a:t>entreprise approche désormais ses clients de manière plus personnalisée </a:t>
            </a:r>
            <a:br>
              <a:rPr lang="fr-fr" sz="1300" b="0" i="0" u="none" baseline="0" dirty="0"/>
            </a:br>
            <a:r>
              <a:rPr lang="fr-fr" sz="1300" b="0" i="0" u="none" baseline="0" dirty="0">
                <a:cs typeface="Segoe UI"/>
              </a:rPr>
              <a:t>et plus pertinente. Grâce à des processus plus efficaces et une véritable visibilité </a:t>
            </a:r>
            <a:br>
              <a:rPr lang="fr-fr" sz="1300" b="0" i="0" u="none" baseline="0" dirty="0"/>
            </a:br>
            <a:r>
              <a:rPr lang="fr-fr" sz="1300" b="0" i="0" u="none" baseline="0" dirty="0">
                <a:cs typeface="Segoe UI"/>
              </a:rPr>
              <a:t>sur les opportunités de vente, les relations avec la clientèle sont plus susceptibles </a:t>
            </a:r>
            <a:br>
              <a:rPr lang="fr-fr" sz="1300" b="0" i="0" u="none" baseline="0" dirty="0"/>
            </a:br>
            <a:r>
              <a:rPr lang="fr-fr" sz="1300" b="0" i="0" u="none" baseline="0" dirty="0">
                <a:cs typeface="Segoe UI"/>
              </a:rPr>
              <a:t>de générer des revenus.</a:t>
            </a:r>
          </a:p>
        </p:txBody>
      </p:sp>
      <p:sp>
        <p:nvSpPr>
          <p:cNvPr id="40" name="Text Placeholder 4">
            <a:extLst>
              <a:ext uri="{FF2B5EF4-FFF2-40B4-BE49-F238E27FC236}">
                <a16:creationId xmlns:a16="http://schemas.microsoft.com/office/drawing/2014/main" id="{E5391E1D-E32F-4460-B680-FEF06678E4BD}"/>
              </a:ext>
            </a:extLst>
          </p:cNvPr>
          <p:cNvSpPr txBox="1">
            <a:spLocks/>
          </p:cNvSpPr>
          <p:nvPr/>
        </p:nvSpPr>
        <p:spPr>
          <a:xfrm>
            <a:off x="2794144" y="4765779"/>
            <a:ext cx="2783045"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fr-fr" sz="1300" b="0" i="0" u="none" baseline="0" dirty="0">
                <a:cs typeface="Segoe UI"/>
              </a:rPr>
              <a:t>Crane Worldwide </a:t>
            </a:r>
            <a:r>
              <a:rPr lang="fr-fr" sz="1300" b="0" i="0" u="none" baseline="0" dirty="0" err="1">
                <a:cs typeface="Segoe UI"/>
              </a:rPr>
              <a:t>Logistics</a:t>
            </a:r>
            <a:r>
              <a:rPr lang="fr-fr" sz="1300" b="0" i="0" u="none" baseline="0" dirty="0">
                <a:cs typeface="Segoe UI"/>
              </a:rPr>
              <a:t>, groupe international spécialisé dans la logistique et le fret, manquait de visibilité sur son important pipeline commercial. </a:t>
            </a:r>
            <a:r>
              <a:rPr lang="en-US" sz="1300" dirty="0">
                <a:cs typeface="Segoe UI"/>
              </a:rPr>
              <a:t>Il</a:t>
            </a:r>
            <a:r>
              <a:rPr lang="fr-fr" sz="1300" dirty="0">
                <a:cs typeface="Segoe UI"/>
              </a:rPr>
              <a:t> u</a:t>
            </a:r>
            <a:r>
              <a:rPr lang="fr-fr" sz="1300" b="0" i="0" u="none" baseline="0" dirty="0">
                <a:cs typeface="Segoe UI"/>
              </a:rPr>
              <a:t>tilisait des systèmes déconnectés les uns des autres pour gérer les relations, et avait besoin d</a:t>
            </a:r>
            <a:r>
              <a:rPr lang="fr-FR" sz="1300" b="0" i="0" u="none" baseline="0" dirty="0">
                <a:cs typeface="Segoe UI"/>
              </a:rPr>
              <a:t>’</a:t>
            </a:r>
            <a:r>
              <a:rPr lang="fr-fr" sz="1300" b="0" i="0" u="none" baseline="0" dirty="0">
                <a:cs typeface="Segoe UI"/>
              </a:rPr>
              <a:t>une plateforme moderne fournissant de nouveaux outils de vente regroupés en un seul endroit.</a:t>
            </a:r>
          </a:p>
        </p:txBody>
      </p:sp>
      <p:sp>
        <p:nvSpPr>
          <p:cNvPr id="41" name="Oval 40">
            <a:extLst>
              <a:ext uri="{FF2B5EF4-FFF2-40B4-BE49-F238E27FC236}">
                <a16:creationId xmlns:a16="http://schemas.microsoft.com/office/drawing/2014/main" id="{D0982488-BCE0-4553-88B8-A9F86FDD51AA}"/>
              </a:ext>
            </a:extLst>
          </p:cNvPr>
          <p:cNvSpPr/>
          <p:nvPr/>
        </p:nvSpPr>
        <p:spPr bwMode="auto">
          <a:xfrm>
            <a:off x="5679868"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0B7A89B9-4DEE-4803-B82C-97E82D27BE85}"/>
              </a:ext>
            </a:extLst>
          </p:cNvPr>
          <p:cNvSpPr/>
          <p:nvPr/>
        </p:nvSpPr>
        <p:spPr bwMode="auto">
          <a:xfrm>
            <a:off x="8717327"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34F7A558-3D15-4A99-A43C-4D326363D540}"/>
              </a:ext>
            </a:extLst>
          </p:cNvPr>
          <p:cNvCxnSpPr>
            <a:cxnSpLocks/>
          </p:cNvCxnSpPr>
          <p:nvPr/>
        </p:nvCxnSpPr>
        <p:spPr>
          <a:xfrm>
            <a:off x="5577190" y="4128788"/>
            <a:ext cx="0" cy="2595862"/>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E9F1B5F-F635-4423-BD8D-CB0578464F06}"/>
              </a:ext>
            </a:extLst>
          </p:cNvPr>
          <p:cNvCxnSpPr>
            <a:cxnSpLocks/>
          </p:cNvCxnSpPr>
          <p:nvPr/>
        </p:nvCxnSpPr>
        <p:spPr>
          <a:xfrm>
            <a:off x="8614648" y="4128788"/>
            <a:ext cx="0" cy="2595862"/>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52" name="Text Placeholder 3">
            <a:extLst>
              <a:ext uri="{FF2B5EF4-FFF2-40B4-BE49-F238E27FC236}">
                <a16:creationId xmlns:a16="http://schemas.microsoft.com/office/drawing/2014/main" id="{CC056C72-5B5C-4680-87A6-3E5FB84A2AA3}"/>
              </a:ext>
            </a:extLst>
          </p:cNvPr>
          <p:cNvSpPr txBox="1">
            <a:spLocks/>
          </p:cNvSpPr>
          <p:nvPr/>
        </p:nvSpPr>
        <p:spPr>
          <a:xfrm>
            <a:off x="3179677" y="3556000"/>
            <a:ext cx="7685947" cy="200025"/>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lvl="0" indent="0" algn="l" defTabSz="932688" rtl="0">
              <a:spcBef>
                <a:spcPts val="0"/>
              </a:spcBef>
              <a:buSzTx/>
              <a:buNone/>
            </a:pPr>
            <a:r>
              <a:rPr lang="fr-fr" sz="2000" b="0" i="0" u="none" baseline="0" dirty="0">
                <a:solidFill>
                  <a:schemeClr val="bg1"/>
                </a:solidFill>
                <a:latin typeface="Segoe UI Semibold"/>
                <a:cs typeface="+mn-cs"/>
              </a:rPr>
              <a:t>John </a:t>
            </a:r>
            <a:r>
              <a:rPr lang="fr-fr" sz="2000" b="0" i="0" u="none" baseline="0" dirty="0" err="1">
                <a:solidFill>
                  <a:schemeClr val="bg1"/>
                </a:solidFill>
                <a:latin typeface="Segoe UI Semibold"/>
                <a:cs typeface="+mn-cs"/>
              </a:rPr>
              <a:t>Jergens</a:t>
            </a:r>
            <a:r>
              <a:rPr lang="fr-fr" sz="1400" b="0" i="1" u="none" baseline="0" dirty="0">
                <a:solidFill>
                  <a:schemeClr val="bg1"/>
                </a:solidFill>
                <a:cs typeface="+mn-cs"/>
              </a:rPr>
              <a:t>, </a:t>
            </a:r>
            <a:r>
              <a:rPr lang="fr-fr" sz="1400" b="0" i="0" u="none" baseline="0" dirty="0">
                <a:solidFill>
                  <a:schemeClr val="bg1"/>
                </a:solidFill>
                <a:cs typeface="+mn-cs"/>
              </a:rPr>
              <a:t>Vice </a:t>
            </a:r>
            <a:r>
              <a:rPr lang="fr-fr" sz="1400" b="0" i="0" u="none" baseline="0" dirty="0" err="1">
                <a:solidFill>
                  <a:schemeClr val="bg1"/>
                </a:solidFill>
                <a:cs typeface="+mn-cs"/>
              </a:rPr>
              <a:t>President</a:t>
            </a:r>
            <a:r>
              <a:rPr lang="fr-fr" sz="1400" b="0" i="0" u="none" baseline="0" dirty="0">
                <a:solidFill>
                  <a:schemeClr val="bg1"/>
                </a:solidFill>
                <a:cs typeface="+mn-cs"/>
              </a:rPr>
              <a:t> of Global Sales, Crane Worldwide </a:t>
            </a:r>
            <a:r>
              <a:rPr lang="fr-fr" sz="1400" b="0" i="0" u="none" baseline="0" dirty="0" err="1">
                <a:solidFill>
                  <a:schemeClr val="bg1"/>
                </a:solidFill>
                <a:cs typeface="+mn-cs"/>
              </a:rPr>
              <a:t>Logistics</a:t>
            </a:r>
            <a:endParaRPr lang="fr-fr" sz="1400" b="0" i="0" u="none" baseline="0" dirty="0" err="1">
              <a:solidFill>
                <a:schemeClr val="bg1"/>
              </a:solidFill>
              <a:cs typeface="Segoe UI"/>
            </a:endParaRPr>
          </a:p>
        </p:txBody>
      </p:sp>
      <p:pic>
        <p:nvPicPr>
          <p:cNvPr id="54" name="Picture 20">
            <a:extLst>
              <a:ext uri="{FF2B5EF4-FFF2-40B4-BE49-F238E27FC236}">
                <a16:creationId xmlns:a16="http://schemas.microsoft.com/office/drawing/2014/main" id="{88EFC9FE-88D9-4DEC-BD0E-BA25DE5582AB}"/>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720" r="2230"/>
          <a:stretch/>
        </p:blipFill>
        <p:spPr bwMode="auto">
          <a:xfrm>
            <a:off x="455613" y="457199"/>
            <a:ext cx="1554256" cy="458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 Placeholder 3">
            <a:extLst>
              <a:ext uri="{FF2B5EF4-FFF2-40B4-BE49-F238E27FC236}">
                <a16:creationId xmlns:a16="http://schemas.microsoft.com/office/drawing/2014/main" id="{45E41802-4B74-42B0-8B67-F6F12B18FA31}"/>
              </a:ext>
            </a:extLst>
          </p:cNvPr>
          <p:cNvSpPr txBox="1">
            <a:spLocks/>
          </p:cNvSpPr>
          <p:nvPr/>
        </p:nvSpPr>
        <p:spPr>
          <a:xfrm>
            <a:off x="3304370"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Situation</a:t>
            </a:r>
          </a:p>
        </p:txBody>
      </p:sp>
      <p:sp>
        <p:nvSpPr>
          <p:cNvPr id="42" name="Text Placeholder 3">
            <a:extLst>
              <a:ext uri="{FF2B5EF4-FFF2-40B4-BE49-F238E27FC236}">
                <a16:creationId xmlns:a16="http://schemas.microsoft.com/office/drawing/2014/main" id="{895DF075-4912-42B3-A6B7-8A83779AA306}"/>
              </a:ext>
            </a:extLst>
          </p:cNvPr>
          <p:cNvSpPr txBox="1">
            <a:spLocks/>
          </p:cNvSpPr>
          <p:nvPr/>
        </p:nvSpPr>
        <p:spPr>
          <a:xfrm>
            <a:off x="6287074"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Solution</a:t>
            </a:r>
          </a:p>
        </p:txBody>
      </p:sp>
      <p:sp>
        <p:nvSpPr>
          <p:cNvPr id="44" name="Text Placeholder 3">
            <a:extLst>
              <a:ext uri="{FF2B5EF4-FFF2-40B4-BE49-F238E27FC236}">
                <a16:creationId xmlns:a16="http://schemas.microsoft.com/office/drawing/2014/main" id="{2A85A002-C2EE-4221-B538-4073437EB96B}"/>
              </a:ext>
            </a:extLst>
          </p:cNvPr>
          <p:cNvSpPr txBox="1">
            <a:spLocks/>
          </p:cNvSpPr>
          <p:nvPr/>
        </p:nvSpPr>
        <p:spPr>
          <a:xfrm>
            <a:off x="9324533"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Impact</a:t>
            </a:r>
          </a:p>
        </p:txBody>
      </p:sp>
      <p:sp>
        <p:nvSpPr>
          <p:cNvPr id="47" name="POI_ECAF" title="Icon of a map location marker">
            <a:extLst>
              <a:ext uri="{FF2B5EF4-FFF2-40B4-BE49-F238E27FC236}">
                <a16:creationId xmlns:a16="http://schemas.microsoft.com/office/drawing/2014/main" id="{52D0D638-3479-44A0-B73D-2CA698A02786}"/>
              </a:ext>
            </a:extLst>
          </p:cNvPr>
          <p:cNvSpPr>
            <a:spLocks noChangeAspect="1" noEditPoints="1"/>
          </p:cNvSpPr>
          <p:nvPr/>
        </p:nvSpPr>
        <p:spPr bwMode="auto">
          <a:xfrm>
            <a:off x="2857800" y="4230246"/>
            <a:ext cx="197206" cy="3155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solidFill>
                <a:schemeClr val="bg1"/>
              </a:solidFill>
              <a:cs typeface="Segoe UI"/>
            </a:endParaRPr>
          </a:p>
        </p:txBody>
      </p:sp>
      <p:sp>
        <p:nvSpPr>
          <p:cNvPr id="48" name="Processing_E9F5" title="Icon of two interlocked gears">
            <a:extLst>
              <a:ext uri="{FF2B5EF4-FFF2-40B4-BE49-F238E27FC236}">
                <a16:creationId xmlns:a16="http://schemas.microsoft.com/office/drawing/2014/main" id="{D69CE287-998A-448C-8C98-C81C79C3E7A5}"/>
              </a:ext>
            </a:extLst>
          </p:cNvPr>
          <p:cNvSpPr>
            <a:spLocks noChangeAspect="1" noEditPoints="1"/>
          </p:cNvSpPr>
          <p:nvPr/>
        </p:nvSpPr>
        <p:spPr bwMode="auto">
          <a:xfrm>
            <a:off x="5775215" y="4245288"/>
            <a:ext cx="327783" cy="28547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solidFill>
                <a:schemeClr val="bg1"/>
              </a:solidFill>
              <a:cs typeface="Segoe UI"/>
            </a:endParaRPr>
          </a:p>
        </p:txBody>
      </p:sp>
      <p:sp>
        <p:nvSpPr>
          <p:cNvPr id="49" name="check" title="Icon of a checkmark">
            <a:extLst>
              <a:ext uri="{FF2B5EF4-FFF2-40B4-BE49-F238E27FC236}">
                <a16:creationId xmlns:a16="http://schemas.microsoft.com/office/drawing/2014/main" id="{8A08CCE9-ED42-4CC6-BF69-F3869B6343A2}"/>
              </a:ext>
            </a:extLst>
          </p:cNvPr>
          <p:cNvSpPr>
            <a:spLocks noChangeAspect="1"/>
          </p:cNvSpPr>
          <p:nvPr/>
        </p:nvSpPr>
        <p:spPr bwMode="auto">
          <a:xfrm>
            <a:off x="8834528" y="4287732"/>
            <a:ext cx="284074" cy="200589"/>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solidFill>
                <a:schemeClr val="bg1"/>
              </a:solidFill>
              <a:cs typeface="Segoe UI"/>
            </a:endParaRPr>
          </a:p>
        </p:txBody>
      </p:sp>
      <p:cxnSp>
        <p:nvCxnSpPr>
          <p:cNvPr id="4" name="Straight Connector 3">
            <a:extLst>
              <a:ext uri="{FF2B5EF4-FFF2-40B4-BE49-F238E27FC236}">
                <a16:creationId xmlns:a16="http://schemas.microsoft.com/office/drawing/2014/main" id="{60ED3AF6-295A-43AA-8C3B-71DDF46D9F2E}"/>
              </a:ext>
            </a:extLst>
          </p:cNvPr>
          <p:cNvCxnSpPr>
            <a:cxnSpLocks/>
          </p:cNvCxnSpPr>
          <p:nvPr/>
        </p:nvCxnSpPr>
        <p:spPr>
          <a:xfrm>
            <a:off x="2810257" y="1028700"/>
            <a:ext cx="0" cy="2972048"/>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3A2ADC-0DA8-42EC-BD72-F649AE7FEC96}"/>
              </a:ext>
            </a:extLst>
          </p:cNvPr>
          <p:cNvSpPr/>
          <p:nvPr/>
        </p:nvSpPr>
        <p:spPr bwMode="auto">
          <a:xfrm>
            <a:off x="0" y="0"/>
            <a:ext cx="12436475" cy="13095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7" name="Title 6">
            <a:extLst>
              <a:ext uri="{FF2B5EF4-FFF2-40B4-BE49-F238E27FC236}">
                <a16:creationId xmlns:a16="http://schemas.microsoft.com/office/drawing/2014/main" id="{4F34BE9C-E3B0-43B6-8599-D446128F7472}"/>
              </a:ext>
            </a:extLst>
          </p:cNvPr>
          <p:cNvSpPr>
            <a:spLocks noGrp="1"/>
          </p:cNvSpPr>
          <p:nvPr>
            <p:ph type="title"/>
          </p:nvPr>
        </p:nvSpPr>
        <p:spPr/>
        <p:txBody>
          <a:bodyPr/>
          <a:lstStyle/>
          <a:p>
            <a:r>
              <a:rPr lang="fr-fr" sz="3650" b="0" i="0" u="none" baseline="0" dirty="0">
                <a:cs typeface="Segoe UI"/>
              </a:rPr>
              <a:t>Le parcours client a évolué</a:t>
            </a:r>
            <a:r>
              <a:rPr lang="fr-fr" sz="3650" dirty="0">
                <a:cs typeface="Segoe UI"/>
              </a:rPr>
              <a:t> </a:t>
            </a:r>
            <a:endParaRPr lang="fr-fr" sz="3650" b="0" i="0" u="none" baseline="0" dirty="0"/>
          </a:p>
        </p:txBody>
      </p:sp>
      <p:sp>
        <p:nvSpPr>
          <p:cNvPr id="4" name="Rectangle 3">
            <a:extLst>
              <a:ext uri="{FF2B5EF4-FFF2-40B4-BE49-F238E27FC236}">
                <a16:creationId xmlns:a16="http://schemas.microsoft.com/office/drawing/2014/main" id="{52F7B1C5-2CA2-42D1-A6B9-6830C6556826}"/>
              </a:ext>
            </a:extLst>
          </p:cNvPr>
          <p:cNvSpPr/>
          <p:nvPr/>
        </p:nvSpPr>
        <p:spPr bwMode="auto">
          <a:xfrm>
            <a:off x="0" y="2622550"/>
            <a:ext cx="12436474" cy="187325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72FFE7B0-BE4A-4E14-9BC6-2843381FB89D}"/>
              </a:ext>
            </a:extLst>
          </p:cNvPr>
          <p:cNvSpPr/>
          <p:nvPr/>
        </p:nvSpPr>
        <p:spPr bwMode="auto">
          <a:xfrm>
            <a:off x="600059" y="1777999"/>
            <a:ext cx="2741149" cy="4020911"/>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1800" b="0" i="0" u="none" baseline="0" dirty="0">
                <a:solidFill>
                  <a:schemeClr val="tx2"/>
                </a:solidFill>
                <a:latin typeface="Segoe UI Semibold"/>
                <a:ea typeface="Segoe UI" pitchFamily="34" charset="0"/>
                <a:cs typeface="Segoe UI Semibold"/>
              </a:rPr>
              <a:t>des acheteurs passent plus de temps à faire des recherches de manière indépendante</a:t>
            </a:r>
          </a:p>
        </p:txBody>
      </p:sp>
      <p:sp>
        <p:nvSpPr>
          <p:cNvPr id="27" name="Rectangle 26">
            <a:extLst>
              <a:ext uri="{FF2B5EF4-FFF2-40B4-BE49-F238E27FC236}">
                <a16:creationId xmlns:a16="http://schemas.microsoft.com/office/drawing/2014/main" id="{D2FCAC5A-73B0-4947-9706-B40200B1BA68}"/>
              </a:ext>
            </a:extLst>
          </p:cNvPr>
          <p:cNvSpPr/>
          <p:nvPr/>
        </p:nvSpPr>
        <p:spPr bwMode="auto">
          <a:xfrm>
            <a:off x="3452427" y="1777999"/>
            <a:ext cx="2741149" cy="4020911"/>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1800" b="0" i="0" u="none" baseline="0" dirty="0">
                <a:solidFill>
                  <a:schemeClr val="tx2"/>
                </a:solidFill>
                <a:latin typeface="Segoe UI Semibold"/>
                <a:cs typeface="Segoe UI Semibold"/>
              </a:rPr>
              <a:t>des groupes d</a:t>
            </a:r>
            <a:r>
              <a:rPr lang="fr-FR" sz="1800" b="0" i="0" u="none" baseline="0" dirty="0">
                <a:solidFill>
                  <a:schemeClr val="tx2"/>
                </a:solidFill>
                <a:latin typeface="Segoe UI Semibold"/>
                <a:cs typeface="Segoe UI Semibold"/>
              </a:rPr>
              <a:t>’</a:t>
            </a:r>
            <a:r>
              <a:rPr lang="fr-fr" sz="1800" b="0" i="0" u="none" baseline="0" dirty="0">
                <a:solidFill>
                  <a:schemeClr val="tx2"/>
                </a:solidFill>
                <a:latin typeface="Segoe UI Semibold"/>
                <a:cs typeface="Segoe UI Semibold"/>
              </a:rPr>
              <a:t>acheteurs </a:t>
            </a:r>
            <a:br>
              <a:rPr lang="fr-fr" sz="1800" dirty="0">
                <a:latin typeface="Segoe UI Semibold" panose="020B0702040204020203" pitchFamily="34" charset="0"/>
                <a:cs typeface="Segoe UI Semibold" panose="020B0702040204020203" pitchFamily="34" charset="0"/>
              </a:rPr>
            </a:br>
            <a:r>
              <a:rPr lang="fr-fr" sz="1800" b="0" i="0" u="none" baseline="0" dirty="0">
                <a:solidFill>
                  <a:schemeClr val="tx2"/>
                </a:solidFill>
                <a:latin typeface="Segoe UI Semibold"/>
                <a:cs typeface="Segoe UI Semibold"/>
              </a:rPr>
              <a:t>B2B actuels sont </a:t>
            </a:r>
            <a:br>
              <a:rPr lang="fr-fr" sz="1800" b="0" i="0" u="none" baseline="0" dirty="0">
                <a:latin typeface="Segoe UI Semibold" panose="020B0702040204020203" pitchFamily="34" charset="0"/>
                <a:cs typeface="Segoe UI Semibold" panose="020B0702040204020203" pitchFamily="34" charset="0"/>
              </a:rPr>
            </a:br>
            <a:r>
              <a:rPr lang="fr-fr" sz="1800" b="0" i="0" u="none" baseline="0" dirty="0">
                <a:solidFill>
                  <a:schemeClr val="tx2"/>
                </a:solidFill>
                <a:latin typeface="Segoe UI Semibold"/>
                <a:cs typeface="Segoe UI Semibold"/>
              </a:rPr>
              <a:t>plus diversifiés</a:t>
            </a:r>
          </a:p>
        </p:txBody>
      </p:sp>
      <p:sp>
        <p:nvSpPr>
          <p:cNvPr id="28" name="Rectangle 27">
            <a:extLst>
              <a:ext uri="{FF2B5EF4-FFF2-40B4-BE49-F238E27FC236}">
                <a16:creationId xmlns:a16="http://schemas.microsoft.com/office/drawing/2014/main" id="{1E4EC704-D16E-469B-BA2F-B84B40F5D116}"/>
              </a:ext>
            </a:extLst>
          </p:cNvPr>
          <p:cNvSpPr/>
          <p:nvPr/>
        </p:nvSpPr>
        <p:spPr bwMode="auto">
          <a:xfrm>
            <a:off x="6304795" y="1777999"/>
            <a:ext cx="2741149" cy="4020911"/>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1800" b="0" i="0" u="none" baseline="0" dirty="0">
                <a:solidFill>
                  <a:schemeClr val="tx2"/>
                </a:solidFill>
                <a:latin typeface="Segoe UI Semibold"/>
                <a:cs typeface="Segoe UI Semibold"/>
              </a:rPr>
              <a:t>des acheteurs </a:t>
            </a:r>
            <a:br>
              <a:rPr lang="fr-fr" sz="1800" b="0" i="0" u="none" baseline="0" dirty="0">
                <a:latin typeface="Segoe UI Semibold" panose="020B0702040204020203" pitchFamily="34" charset="0"/>
                <a:cs typeface="Segoe UI Semibold" panose="020B0702040204020203" pitchFamily="34" charset="0"/>
              </a:rPr>
            </a:br>
            <a:r>
              <a:rPr lang="fr-fr" sz="1800" b="0" i="0" u="none" baseline="0" dirty="0">
                <a:solidFill>
                  <a:schemeClr val="tx2"/>
                </a:solidFill>
                <a:latin typeface="Segoe UI Semibold"/>
                <a:cs typeface="Segoe UI Semibold"/>
              </a:rPr>
              <a:t>veulent une expérience </a:t>
            </a:r>
            <a:br>
              <a:rPr lang="fr-fr" sz="1800" dirty="0">
                <a:latin typeface="Segoe UI Semibold" panose="020B0702040204020203" pitchFamily="34" charset="0"/>
                <a:cs typeface="Segoe UI Semibold" panose="020B0702040204020203" pitchFamily="34" charset="0"/>
              </a:rPr>
            </a:br>
            <a:r>
              <a:rPr lang="fr-fr" sz="1800" b="0" i="0" u="none" baseline="0" dirty="0">
                <a:solidFill>
                  <a:schemeClr val="tx2"/>
                </a:solidFill>
                <a:latin typeface="Segoe UI Semibold"/>
                <a:cs typeface="Segoe UI Semibold"/>
              </a:rPr>
              <a:t>B2C</a:t>
            </a:r>
          </a:p>
        </p:txBody>
      </p:sp>
      <p:sp>
        <p:nvSpPr>
          <p:cNvPr id="31" name="Rectangle 30">
            <a:extLst>
              <a:ext uri="{FF2B5EF4-FFF2-40B4-BE49-F238E27FC236}">
                <a16:creationId xmlns:a16="http://schemas.microsoft.com/office/drawing/2014/main" id="{65280891-32A3-42E0-9236-478ED8236B1B}"/>
              </a:ext>
            </a:extLst>
          </p:cNvPr>
          <p:cNvSpPr/>
          <p:nvPr/>
        </p:nvSpPr>
        <p:spPr bwMode="auto">
          <a:xfrm>
            <a:off x="9157164" y="1777999"/>
            <a:ext cx="2741149" cy="4020911"/>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1800" b="0" i="0" u="none" baseline="0" dirty="0">
                <a:solidFill>
                  <a:schemeClr val="tx2"/>
                </a:solidFill>
                <a:latin typeface="Segoe UI Semibold"/>
                <a:cs typeface="Segoe UI Semibold"/>
              </a:rPr>
              <a:t>des acheteurs </a:t>
            </a:r>
            <a:br>
              <a:rPr lang="fr-fr" sz="1800" b="0" i="0" u="none" baseline="0" dirty="0">
                <a:latin typeface="Segoe UI Semibold" panose="020B0702040204020203" pitchFamily="34" charset="0"/>
                <a:cs typeface="Segoe UI Semibold" panose="020B0702040204020203" pitchFamily="34" charset="0"/>
              </a:rPr>
            </a:br>
            <a:r>
              <a:rPr lang="fr-fr" sz="1800" b="0" i="0" u="none" baseline="0" dirty="0">
                <a:solidFill>
                  <a:schemeClr val="tx2"/>
                </a:solidFill>
                <a:latin typeface="Segoe UI Semibold"/>
                <a:cs typeface="Segoe UI Semibold"/>
              </a:rPr>
              <a:t>veulent et doivent faire des expériences numériques</a:t>
            </a:r>
          </a:p>
        </p:txBody>
      </p:sp>
      <p:sp>
        <p:nvSpPr>
          <p:cNvPr id="32" name="Oval 31">
            <a:extLst>
              <a:ext uri="{FF2B5EF4-FFF2-40B4-BE49-F238E27FC236}">
                <a16:creationId xmlns:a16="http://schemas.microsoft.com/office/drawing/2014/main" id="{3376AC92-7F05-4030-8DD6-8A24CB89158C}"/>
              </a:ext>
            </a:extLst>
          </p:cNvPr>
          <p:cNvSpPr/>
          <p:nvPr/>
        </p:nvSpPr>
        <p:spPr bwMode="auto">
          <a:xfrm>
            <a:off x="1603194" y="1410465"/>
            <a:ext cx="734878" cy="734878"/>
          </a:xfrm>
          <a:prstGeom prst="ellipse">
            <a:avLst/>
          </a:prstGeom>
          <a:solidFill>
            <a:schemeClr val="tx2"/>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51028" rtl="0" fontAlgn="base">
              <a:spcBef>
                <a:spcPct val="0"/>
              </a:spcBef>
              <a:spcAft>
                <a:spcPct val="0"/>
              </a:spcAft>
            </a:pPr>
            <a:r>
              <a:rPr lang="fr-fr" sz="1800" b="0" i="0" u="none" baseline="0">
                <a:solidFill>
                  <a:schemeClr val="bg1"/>
                </a:solidFill>
                <a:latin typeface="+mj-lt"/>
                <a:ea typeface="Segoe UI" pitchFamily="34" charset="0"/>
                <a:cs typeface="Segoe UI"/>
              </a:rPr>
              <a:t>6 %</a:t>
            </a:r>
            <a:endParaRPr lang="fr-fr" sz="1800" b="0" i="0" u="none" baseline="0" dirty="0">
              <a:solidFill>
                <a:schemeClr val="bg1"/>
              </a:solidFill>
              <a:latin typeface="+mj-lt"/>
              <a:ea typeface="Segoe UI" pitchFamily="34" charset="0"/>
              <a:cs typeface="Segoe UI"/>
            </a:endParaRPr>
          </a:p>
        </p:txBody>
      </p:sp>
      <p:sp>
        <p:nvSpPr>
          <p:cNvPr id="33" name="Oval 32">
            <a:extLst>
              <a:ext uri="{FF2B5EF4-FFF2-40B4-BE49-F238E27FC236}">
                <a16:creationId xmlns:a16="http://schemas.microsoft.com/office/drawing/2014/main" id="{A1B7CD91-F6B1-4C3B-809B-D55A81362395}"/>
              </a:ext>
            </a:extLst>
          </p:cNvPr>
          <p:cNvSpPr/>
          <p:nvPr/>
        </p:nvSpPr>
        <p:spPr bwMode="auto">
          <a:xfrm>
            <a:off x="4455562" y="1410465"/>
            <a:ext cx="734878" cy="734878"/>
          </a:xfrm>
          <a:prstGeom prst="ellipse">
            <a:avLst/>
          </a:prstGeom>
          <a:solidFill>
            <a:schemeClr val="tx2"/>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51028" rtl="0" fontAlgn="base">
              <a:spcBef>
                <a:spcPct val="0"/>
              </a:spcBef>
              <a:spcAft>
                <a:spcPct val="0"/>
              </a:spcAft>
            </a:pPr>
            <a:r>
              <a:rPr lang="fr-fr" sz="1800" b="0" i="0" u="none" baseline="0">
                <a:solidFill>
                  <a:schemeClr val="bg1"/>
                </a:solidFill>
                <a:latin typeface="+mj-lt"/>
                <a:ea typeface="Segoe UI" pitchFamily="34" charset="0"/>
                <a:cs typeface="Segoe UI"/>
              </a:rPr>
              <a:t>75 %</a:t>
            </a:r>
            <a:endParaRPr lang="fr-fr" sz="1800" b="0" i="0" u="none" baseline="0" dirty="0">
              <a:solidFill>
                <a:schemeClr val="bg1"/>
              </a:solidFill>
              <a:latin typeface="+mj-lt"/>
              <a:ea typeface="Segoe UI" pitchFamily="34" charset="0"/>
              <a:cs typeface="Segoe UI"/>
            </a:endParaRPr>
          </a:p>
        </p:txBody>
      </p:sp>
      <p:sp>
        <p:nvSpPr>
          <p:cNvPr id="45" name="Oval 44">
            <a:extLst>
              <a:ext uri="{FF2B5EF4-FFF2-40B4-BE49-F238E27FC236}">
                <a16:creationId xmlns:a16="http://schemas.microsoft.com/office/drawing/2014/main" id="{C67B2D41-EEAE-458D-AF14-FA207188604B}"/>
              </a:ext>
            </a:extLst>
          </p:cNvPr>
          <p:cNvSpPr/>
          <p:nvPr/>
        </p:nvSpPr>
        <p:spPr bwMode="auto">
          <a:xfrm>
            <a:off x="7307930" y="1410465"/>
            <a:ext cx="734878" cy="734878"/>
          </a:xfrm>
          <a:prstGeom prst="ellipse">
            <a:avLst/>
          </a:prstGeom>
          <a:solidFill>
            <a:schemeClr val="tx2"/>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51028" rtl="0" fontAlgn="base">
              <a:spcBef>
                <a:spcPct val="0"/>
              </a:spcBef>
              <a:spcAft>
                <a:spcPct val="0"/>
              </a:spcAft>
            </a:pPr>
            <a:r>
              <a:rPr lang="fr-fr" sz="1800" b="0" i="0" u="none" baseline="0">
                <a:solidFill>
                  <a:schemeClr val="bg1"/>
                </a:solidFill>
                <a:latin typeface="+mj-lt"/>
                <a:ea typeface="Segoe UI" pitchFamily="34" charset="0"/>
                <a:cs typeface="Segoe UI"/>
              </a:rPr>
              <a:t>45 %</a:t>
            </a:r>
            <a:endParaRPr lang="fr-fr" sz="1800" b="0" i="0" u="none" baseline="0" dirty="0">
              <a:solidFill>
                <a:schemeClr val="bg1"/>
              </a:solidFill>
              <a:latin typeface="+mj-lt"/>
              <a:ea typeface="Segoe UI" pitchFamily="34" charset="0"/>
              <a:cs typeface="Segoe UI"/>
            </a:endParaRPr>
          </a:p>
        </p:txBody>
      </p:sp>
      <p:sp>
        <p:nvSpPr>
          <p:cNvPr id="46" name="Oval 45">
            <a:extLst>
              <a:ext uri="{FF2B5EF4-FFF2-40B4-BE49-F238E27FC236}">
                <a16:creationId xmlns:a16="http://schemas.microsoft.com/office/drawing/2014/main" id="{5ADD729C-3EAE-4F10-BFCE-9BA99C505CA0}"/>
              </a:ext>
            </a:extLst>
          </p:cNvPr>
          <p:cNvSpPr/>
          <p:nvPr/>
        </p:nvSpPr>
        <p:spPr bwMode="auto">
          <a:xfrm>
            <a:off x="10160299" y="1410465"/>
            <a:ext cx="734878" cy="734878"/>
          </a:xfrm>
          <a:prstGeom prst="ellipse">
            <a:avLst/>
          </a:prstGeom>
          <a:solidFill>
            <a:schemeClr val="tx2"/>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51028" rtl="0" fontAlgn="base">
              <a:spcBef>
                <a:spcPct val="0"/>
              </a:spcBef>
              <a:spcAft>
                <a:spcPct val="0"/>
              </a:spcAft>
            </a:pPr>
            <a:r>
              <a:rPr lang="fr-fr" sz="1800" b="0" i="0" u="none" baseline="0" dirty="0">
                <a:solidFill>
                  <a:schemeClr val="bg1"/>
                </a:solidFill>
                <a:latin typeface="+mj-lt"/>
                <a:ea typeface="Segoe UI" pitchFamily="34" charset="0"/>
                <a:cs typeface="Segoe UI"/>
              </a:rPr>
              <a:t>100 %</a:t>
            </a:r>
          </a:p>
        </p:txBody>
      </p:sp>
      <p:sp>
        <p:nvSpPr>
          <p:cNvPr id="47" name="TextBox 46">
            <a:extLst>
              <a:ext uri="{FF2B5EF4-FFF2-40B4-BE49-F238E27FC236}">
                <a16:creationId xmlns:a16="http://schemas.microsoft.com/office/drawing/2014/main" id="{B9C6F703-2CBC-4A85-B17F-B9326AC134EF}"/>
              </a:ext>
            </a:extLst>
          </p:cNvPr>
          <p:cNvSpPr txBox="1"/>
          <p:nvPr/>
        </p:nvSpPr>
        <p:spPr>
          <a:xfrm>
            <a:off x="742701" y="3784071"/>
            <a:ext cx="2455864" cy="784830"/>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rtl="0">
              <a:spcBef>
                <a:spcPts val="1020"/>
              </a:spcBef>
            </a:pPr>
            <a:r>
              <a:rPr lang="fr-fr" sz="1700" b="0" i="0" u="none" baseline="0" dirty="0">
                <a:ea typeface="+mn-lt"/>
                <a:cs typeface="+mn-lt"/>
              </a:rPr>
              <a:t>Les acheteurs consacrent </a:t>
            </a:r>
            <a:br>
              <a:rPr lang="fr-fr" sz="1700" b="0" i="0" u="none" baseline="0" dirty="0">
                <a:ea typeface="+mn-lt"/>
                <a:cs typeface="+mn-lt"/>
              </a:rPr>
            </a:br>
            <a:r>
              <a:rPr lang="fr-fr" sz="1700" b="0" i="0" u="none" baseline="0" dirty="0">
                <a:ea typeface="+mn-lt"/>
                <a:cs typeface="+mn-lt"/>
              </a:rPr>
              <a:t>6 % de leur temps à </a:t>
            </a:r>
            <a:br>
              <a:rPr lang="fr-fr" sz="1700" dirty="0">
                <a:ea typeface="+mn-lt"/>
                <a:cs typeface="+mn-lt"/>
              </a:rPr>
            </a:br>
            <a:r>
              <a:rPr lang="fr-fr" sz="1700" b="0" i="0" u="none" baseline="0" dirty="0">
                <a:ea typeface="+mn-lt"/>
                <a:cs typeface="+mn-lt"/>
              </a:rPr>
              <a:t>chaque vendeur</a:t>
            </a:r>
            <a:r>
              <a:rPr lang="fr-fr" sz="1700" b="0" i="0" u="none" baseline="30000" dirty="0">
                <a:ea typeface="+mn-lt"/>
                <a:cs typeface="+mn-lt"/>
              </a:rPr>
              <a:t>1</a:t>
            </a:r>
          </a:p>
        </p:txBody>
      </p:sp>
      <p:sp>
        <p:nvSpPr>
          <p:cNvPr id="48" name="TextBox 47">
            <a:extLst>
              <a:ext uri="{FF2B5EF4-FFF2-40B4-BE49-F238E27FC236}">
                <a16:creationId xmlns:a16="http://schemas.microsoft.com/office/drawing/2014/main" id="{57C36C55-01B0-4A3C-BA81-34293B53520A}"/>
              </a:ext>
            </a:extLst>
          </p:cNvPr>
          <p:cNvSpPr txBox="1"/>
          <p:nvPr/>
        </p:nvSpPr>
        <p:spPr>
          <a:xfrm>
            <a:off x="3672109" y="3784071"/>
            <a:ext cx="2301784" cy="183127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1020"/>
              </a:spcBef>
            </a:pPr>
            <a:r>
              <a:rPr lang="fr-fr" sz="1700" b="0" i="0" u="none" baseline="0" dirty="0">
                <a:ea typeface="+mn-lt"/>
                <a:cs typeface="+mn-lt"/>
              </a:rPr>
              <a:t>75 % des acheteurs ont déclaré que leurs achats impliquaient des personnes liées à des fonctions, des équipes et des localisations très diverses</a:t>
            </a:r>
            <a:r>
              <a:rPr lang="fr-fr" sz="1700" b="0" i="0" u="none" baseline="30000" dirty="0">
                <a:ea typeface="+mn-lt"/>
                <a:cs typeface="+mn-lt"/>
              </a:rPr>
              <a:t>2</a:t>
            </a:r>
            <a:r>
              <a:rPr lang="fr-fr" sz="1700" dirty="0">
                <a:ea typeface="+mn-lt"/>
                <a:cs typeface="+mn-lt"/>
              </a:rPr>
              <a:t> </a:t>
            </a:r>
            <a:endParaRPr lang="fr-fr" sz="1700" b="0" i="0" u="none" baseline="0" dirty="0">
              <a:ea typeface="+mn-lt"/>
              <a:cs typeface="+mn-lt"/>
            </a:endParaRPr>
          </a:p>
        </p:txBody>
      </p:sp>
      <p:sp>
        <p:nvSpPr>
          <p:cNvPr id="49" name="TextBox 48">
            <a:extLst>
              <a:ext uri="{FF2B5EF4-FFF2-40B4-BE49-F238E27FC236}">
                <a16:creationId xmlns:a16="http://schemas.microsoft.com/office/drawing/2014/main" id="{163639F7-B1D3-45E4-901B-4D6764399CCF}"/>
              </a:ext>
            </a:extLst>
          </p:cNvPr>
          <p:cNvSpPr txBox="1"/>
          <p:nvPr/>
        </p:nvSpPr>
        <p:spPr>
          <a:xfrm>
            <a:off x="6524477" y="3784071"/>
            <a:ext cx="2301784" cy="10464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spcBef>
                <a:spcPts val="1020"/>
              </a:spcBef>
            </a:pPr>
            <a:r>
              <a:rPr lang="fr-fr" sz="1700" b="0" i="0" u="none" baseline="0" dirty="0">
                <a:ea typeface="+mn-lt"/>
                <a:cs typeface="+mn-lt"/>
              </a:rPr>
              <a:t>Les </a:t>
            </a:r>
            <a:r>
              <a:rPr lang="fr-fr" sz="1700" b="0" i="0" u="none" baseline="0" dirty="0" err="1">
                <a:ea typeface="+mn-lt"/>
                <a:cs typeface="+mn-lt"/>
              </a:rPr>
              <a:t>millennials</a:t>
            </a:r>
            <a:r>
              <a:rPr lang="fr-fr" sz="1700" b="0" i="0" u="none" baseline="0" dirty="0">
                <a:ea typeface="+mn-lt"/>
                <a:cs typeface="+mn-lt"/>
              </a:rPr>
              <a:t> constituent le plus grand groupe d</a:t>
            </a:r>
            <a:r>
              <a:rPr lang="fr-FR" sz="1700" b="0" i="0" u="none" baseline="0" dirty="0">
                <a:ea typeface="+mn-lt"/>
                <a:cs typeface="+mn-lt"/>
              </a:rPr>
              <a:t>’</a:t>
            </a:r>
            <a:r>
              <a:rPr lang="fr-fr" sz="1700" b="0" i="0" u="none" baseline="0" dirty="0">
                <a:ea typeface="+mn-lt"/>
                <a:cs typeface="+mn-lt"/>
              </a:rPr>
              <a:t>acheteurs B2B</a:t>
            </a:r>
            <a:r>
              <a:rPr lang="fr-fr" sz="1700" b="0" i="0" u="none" baseline="30000" dirty="0">
                <a:ea typeface="+mn-lt"/>
                <a:cs typeface="+mn-lt"/>
              </a:rPr>
              <a:t>3</a:t>
            </a:r>
          </a:p>
        </p:txBody>
      </p:sp>
      <p:sp>
        <p:nvSpPr>
          <p:cNvPr id="50" name="TextBox 49">
            <a:extLst>
              <a:ext uri="{FF2B5EF4-FFF2-40B4-BE49-F238E27FC236}">
                <a16:creationId xmlns:a16="http://schemas.microsoft.com/office/drawing/2014/main" id="{1BFEBBB4-5B3E-421F-AC3A-3A4D88773D1E}"/>
              </a:ext>
            </a:extLst>
          </p:cNvPr>
          <p:cNvSpPr txBox="1"/>
          <p:nvPr/>
        </p:nvSpPr>
        <p:spPr>
          <a:xfrm>
            <a:off x="9376846" y="3784071"/>
            <a:ext cx="2301784" cy="13289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1020"/>
              </a:spcBef>
            </a:pPr>
            <a:r>
              <a:rPr lang="fr-fr" sz="1700" b="0" i="0" u="none" baseline="0" dirty="0">
                <a:ea typeface="+mn-lt"/>
                <a:cs typeface="+mn-lt"/>
              </a:rPr>
              <a:t>Aujourd</a:t>
            </a:r>
            <a:r>
              <a:rPr lang="fr-FR" sz="1700" b="0" i="0" u="none" baseline="0" dirty="0">
                <a:ea typeface="+mn-lt"/>
                <a:cs typeface="+mn-lt"/>
              </a:rPr>
              <a:t>’</a:t>
            </a:r>
            <a:r>
              <a:rPr lang="fr-fr" sz="1700" b="0" i="0" u="none" baseline="0" dirty="0">
                <a:ea typeface="+mn-lt"/>
                <a:cs typeface="+mn-lt"/>
              </a:rPr>
              <a:t>hui, </a:t>
            </a:r>
            <a:br>
              <a:rPr lang="fr-fr" sz="1700" b="0" i="0" u="none" baseline="0" dirty="0">
                <a:ea typeface="+mn-lt"/>
                <a:cs typeface="+mn-lt"/>
              </a:rPr>
            </a:br>
            <a:r>
              <a:rPr lang="fr-fr" sz="1700" b="0" i="0" u="none" baseline="0" dirty="0">
                <a:ea typeface="+mn-lt"/>
                <a:cs typeface="+mn-lt"/>
              </a:rPr>
              <a:t>la quasi-totalité </a:t>
            </a:r>
            <a:br>
              <a:rPr lang="fr-fr" sz="1700" b="0" i="0" u="none" baseline="0" dirty="0">
                <a:ea typeface="+mn-lt"/>
                <a:cs typeface="+mn-lt"/>
              </a:rPr>
            </a:br>
            <a:r>
              <a:rPr lang="en-US" sz="1700" dirty="0">
                <a:ea typeface="+mn-lt"/>
                <a:cs typeface="+mn-lt"/>
              </a:rPr>
              <a:t>du</a:t>
            </a:r>
            <a:r>
              <a:rPr lang="fr-fr" sz="1700" dirty="0">
                <a:ea typeface="+mn-lt"/>
                <a:cs typeface="+mn-lt"/>
              </a:rPr>
              <a:t> </a:t>
            </a:r>
            <a:r>
              <a:rPr lang="fr-fr" sz="1700" b="0" i="0" u="none" baseline="0" dirty="0">
                <a:ea typeface="+mn-lt"/>
                <a:cs typeface="+mn-lt"/>
              </a:rPr>
              <a:t>parcours B2B </a:t>
            </a:r>
            <a:br>
              <a:rPr lang="fr-fr" sz="1700" dirty="0">
                <a:ea typeface="+mn-lt"/>
                <a:cs typeface="+mn-lt"/>
              </a:rPr>
            </a:br>
            <a:r>
              <a:rPr lang="fr-fr" sz="1700" b="0" i="0" u="none" baseline="0" dirty="0">
                <a:ea typeface="+mn-lt"/>
                <a:cs typeface="+mn-lt"/>
              </a:rPr>
              <a:t>se fait par voie numérique</a:t>
            </a:r>
            <a:r>
              <a:rPr lang="fr-fr" sz="1700" b="0" i="0" u="none" baseline="30000" dirty="0">
                <a:ea typeface="+mn-lt"/>
                <a:cs typeface="+mn-lt"/>
              </a:rPr>
              <a:t>4</a:t>
            </a:r>
          </a:p>
        </p:txBody>
      </p:sp>
      <p:cxnSp>
        <p:nvCxnSpPr>
          <p:cNvPr id="12" name="Straight Connector 11">
            <a:extLst>
              <a:ext uri="{FF2B5EF4-FFF2-40B4-BE49-F238E27FC236}">
                <a16:creationId xmlns:a16="http://schemas.microsoft.com/office/drawing/2014/main" id="{AA6EEFF7-E750-4326-847F-8A14D9069228}"/>
              </a:ext>
            </a:extLst>
          </p:cNvPr>
          <p:cNvCxnSpPr>
            <a:cxnSpLocks/>
          </p:cNvCxnSpPr>
          <p:nvPr/>
        </p:nvCxnSpPr>
        <p:spPr>
          <a:xfrm>
            <a:off x="1025054" y="3546199"/>
            <a:ext cx="1891158"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8BA93B3-C217-4B37-8BFA-DD5FD60EB178}"/>
              </a:ext>
            </a:extLst>
          </p:cNvPr>
          <p:cNvCxnSpPr>
            <a:cxnSpLocks/>
          </p:cNvCxnSpPr>
          <p:nvPr/>
        </p:nvCxnSpPr>
        <p:spPr>
          <a:xfrm>
            <a:off x="3877422" y="3546199"/>
            <a:ext cx="1891158"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2AA756A-9852-47F1-A801-66BB1D8C26BD}"/>
              </a:ext>
            </a:extLst>
          </p:cNvPr>
          <p:cNvCxnSpPr>
            <a:cxnSpLocks/>
          </p:cNvCxnSpPr>
          <p:nvPr/>
        </p:nvCxnSpPr>
        <p:spPr>
          <a:xfrm>
            <a:off x="6729790" y="3546199"/>
            <a:ext cx="1891158"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4D81A69-BF8B-40F4-AC50-F4189DF3DEEA}"/>
              </a:ext>
            </a:extLst>
          </p:cNvPr>
          <p:cNvCxnSpPr>
            <a:cxnSpLocks/>
          </p:cNvCxnSpPr>
          <p:nvPr/>
        </p:nvCxnSpPr>
        <p:spPr>
          <a:xfrm>
            <a:off x="9582159" y="3546199"/>
            <a:ext cx="1891158"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883F2707-EAC1-4E39-863E-CDB84C59BF56}"/>
              </a:ext>
            </a:extLst>
          </p:cNvPr>
          <p:cNvSpPr/>
          <p:nvPr/>
        </p:nvSpPr>
        <p:spPr>
          <a:xfrm>
            <a:off x="596711" y="6315793"/>
            <a:ext cx="2633848" cy="151262"/>
          </a:xfrm>
          <a:prstGeom prst="rect">
            <a:avLst/>
          </a:prstGeom>
        </p:spPr>
        <p:txBody>
          <a:bodyPr wrap="none" lIns="0" tIns="0" rIns="0" bIns="0" anchor="t">
            <a:spAutoFit/>
          </a:bodyPr>
          <a:lstStyle/>
          <a:p>
            <a:pPr algn="l" defTabSz="951028" rtl="0" fontAlgn="base">
              <a:lnSpc>
                <a:spcPct val="90000"/>
              </a:lnSpc>
              <a:spcBef>
                <a:spcPct val="0"/>
              </a:spcBef>
              <a:spcAft>
                <a:spcPct val="0"/>
              </a:spcAft>
            </a:pPr>
            <a:r>
              <a:rPr lang="fr-fr" sz="1100" b="0" i="1" u="none" baseline="30000" dirty="0">
                <a:solidFill>
                  <a:schemeClr val="accent1"/>
                </a:solidFill>
                <a:ea typeface="Segoe UI" pitchFamily="34" charset="0"/>
                <a:cs typeface="Segoe UI"/>
              </a:rPr>
              <a:t>1</a:t>
            </a:r>
            <a:r>
              <a:rPr lang="fr-fr" sz="1100" b="0" i="1" u="none" baseline="0" dirty="0">
                <a:solidFill>
                  <a:schemeClr val="accent1"/>
                </a:solidFill>
                <a:ea typeface="Segoe UI" pitchFamily="34" charset="0"/>
                <a:cs typeface="Segoe UI"/>
                <a:hlinkClick r:id="rId3">
                  <a:extLst>
                    <a:ext uri="{A12FA001-AC4F-418D-AE19-62706E023703}">
                      <ahyp:hlinkClr xmlns:ahyp="http://schemas.microsoft.com/office/drawing/2018/hyperlinkcolor" val="tx"/>
                    </a:ext>
                  </a:extLst>
                </a:hlinkClick>
              </a:rPr>
              <a:t>Gartner</a:t>
            </a:r>
            <a:r>
              <a:rPr lang="fr-fr" sz="1100" b="0" i="1" u="none" baseline="0" dirty="0">
                <a:solidFill>
                  <a:schemeClr val="accent1"/>
                </a:solidFill>
                <a:ea typeface="Segoe UI" pitchFamily="34" charset="0"/>
                <a:cs typeface="Segoe UI"/>
              </a:rPr>
              <a:t> | </a:t>
            </a:r>
            <a:r>
              <a:rPr lang="fr-fr" sz="1100" b="0" i="1" u="none" baseline="30000" dirty="0">
                <a:solidFill>
                  <a:schemeClr val="accent1"/>
                </a:solidFill>
                <a:ea typeface="Segoe UI" pitchFamily="34" charset="0"/>
                <a:cs typeface="Segoe UI"/>
              </a:rPr>
              <a:t>2</a:t>
            </a:r>
            <a:r>
              <a:rPr lang="fr-fr" sz="1100" b="0" i="1" u="none" baseline="0" dirty="0">
                <a:solidFill>
                  <a:schemeClr val="accent1"/>
                </a:solidFill>
                <a:ea typeface="Segoe UI" pitchFamily="34" charset="0"/>
                <a:cs typeface="Segoe UI"/>
                <a:hlinkClick r:id="rId4">
                  <a:extLst>
                    <a:ext uri="{A12FA001-AC4F-418D-AE19-62706E023703}">
                      <ahyp:hlinkClr xmlns:ahyp="http://schemas.microsoft.com/office/drawing/2018/hyperlinkcolor" val="tx"/>
                    </a:ext>
                  </a:extLst>
                </a:hlinkClick>
              </a:rPr>
              <a:t>Gartner</a:t>
            </a:r>
            <a:r>
              <a:rPr lang="fr-fr" sz="1100" b="0" i="1" u="none" baseline="0" dirty="0">
                <a:solidFill>
                  <a:schemeClr val="accent1"/>
                </a:solidFill>
                <a:ea typeface="Segoe UI" pitchFamily="34" charset="0"/>
                <a:cs typeface="Segoe UI"/>
              </a:rPr>
              <a:t> | </a:t>
            </a:r>
            <a:r>
              <a:rPr lang="fr-fr" sz="1100" b="0" i="1" u="none" baseline="30000" dirty="0">
                <a:solidFill>
                  <a:schemeClr val="accent1"/>
                </a:solidFill>
                <a:ea typeface="Segoe UI" pitchFamily="34" charset="0"/>
                <a:cs typeface="Segoe UI"/>
              </a:rPr>
              <a:t>3</a:t>
            </a:r>
            <a:r>
              <a:rPr lang="fr-fr" sz="1100" b="0" i="1" u="none" baseline="0" dirty="0">
                <a:solidFill>
                  <a:schemeClr val="accent1"/>
                </a:solidFill>
                <a:ea typeface="Segoe UI" pitchFamily="34" charset="0"/>
                <a:cs typeface="Segoe UI"/>
                <a:hlinkClick r:id="rId5">
                  <a:extLst>
                    <a:ext uri="{A12FA001-AC4F-418D-AE19-62706E023703}">
                      <ahyp:hlinkClr xmlns:ahyp="http://schemas.microsoft.com/office/drawing/2018/hyperlinkcolor" val="tx"/>
                    </a:ext>
                  </a:extLst>
                </a:hlinkClick>
              </a:rPr>
              <a:t>TrustRadius</a:t>
            </a:r>
            <a:r>
              <a:rPr lang="fr-fr" sz="1100" b="0" i="1" u="none" baseline="0" dirty="0">
                <a:solidFill>
                  <a:schemeClr val="accent1"/>
                </a:solidFill>
                <a:ea typeface="Segoe UI" pitchFamily="34" charset="0"/>
                <a:cs typeface="Segoe UI"/>
              </a:rPr>
              <a:t> | </a:t>
            </a:r>
            <a:r>
              <a:rPr lang="fr-fr" sz="1100" b="0" i="1" u="none" baseline="30000" dirty="0">
                <a:solidFill>
                  <a:schemeClr val="accent1"/>
                </a:solidFill>
                <a:ea typeface="Segoe UI" pitchFamily="34" charset="0"/>
                <a:cs typeface="Segoe UI"/>
              </a:rPr>
              <a:t>4</a:t>
            </a:r>
            <a:r>
              <a:rPr lang="fr-fr" sz="1100" b="0" i="1" u="none" baseline="0" dirty="0">
                <a:solidFill>
                  <a:schemeClr val="accent1"/>
                </a:solidFill>
                <a:ea typeface="Segoe UI" pitchFamily="34" charset="0"/>
                <a:cs typeface="Segoe UI"/>
                <a:hlinkClick r:id="rId6">
                  <a:extLst>
                    <a:ext uri="{A12FA001-AC4F-418D-AE19-62706E023703}">
                      <ahyp:hlinkClr xmlns:ahyp="http://schemas.microsoft.com/office/drawing/2018/hyperlinkcolor" val="tx"/>
                    </a:ext>
                  </a:extLst>
                </a:hlinkClick>
              </a:rPr>
              <a:t>Gartner</a:t>
            </a:r>
            <a:endParaRPr lang="fr-fr" sz="1100" i="1" dirty="0">
              <a:solidFill>
                <a:schemeClr val="accent1"/>
              </a:solidFill>
              <a:ea typeface="Segoe UI" pitchFamily="34" charset="0"/>
              <a:cs typeface="Segoe UI"/>
            </a:endParaRPr>
          </a:p>
        </p:txBody>
      </p:sp>
    </p:spTree>
    <p:extLst>
      <p:ext uri="{BB962C8B-B14F-4D97-AF65-F5344CB8AC3E}">
        <p14:creationId xmlns:p14="http://schemas.microsoft.com/office/powerpoint/2010/main" val="34620664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A5DEECDF-7EF7-4E7A-A294-304A0C6BCFB1}"/>
              </a:ext>
            </a:extLst>
          </p:cNvPr>
          <p:cNvSpPr/>
          <p:nvPr/>
        </p:nvSpPr>
        <p:spPr bwMode="auto">
          <a:xfrm>
            <a:off x="2546020" y="0"/>
            <a:ext cx="555995" cy="3398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sp>
        <p:nvSpPr>
          <p:cNvPr id="72" name="Rectangle 71">
            <a:extLst>
              <a:ext uri="{FF2B5EF4-FFF2-40B4-BE49-F238E27FC236}">
                <a16:creationId xmlns:a16="http://schemas.microsoft.com/office/drawing/2014/main" id="{3C916E42-3A81-4605-94E5-4F68968F1688}"/>
              </a:ext>
            </a:extLst>
          </p:cNvPr>
          <p:cNvSpPr/>
          <p:nvPr/>
        </p:nvSpPr>
        <p:spPr bwMode="auto">
          <a:xfrm>
            <a:off x="2546020" y="3398520"/>
            <a:ext cx="9890455" cy="1325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63D2E0A2-E54E-4985-B7D0-331AB03A8278}"/>
              </a:ext>
            </a:extLst>
          </p:cNvPr>
          <p:cNvSpPr/>
          <p:nvPr/>
        </p:nvSpPr>
        <p:spPr bwMode="auto">
          <a:xfrm flipH="1" flipV="1">
            <a:off x="2810256" y="3755136"/>
            <a:ext cx="8766046" cy="245612"/>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74" name="Graphic 12">
            <a:extLst>
              <a:ext uri="{FF2B5EF4-FFF2-40B4-BE49-F238E27FC236}">
                <a16:creationId xmlns:a16="http://schemas.microsoft.com/office/drawing/2014/main" id="{C761A7E2-079A-4557-8594-71613D6DE2BF}"/>
              </a:ext>
            </a:extLst>
          </p:cNvPr>
          <p:cNvGrpSpPr/>
          <p:nvPr/>
        </p:nvGrpSpPr>
        <p:grpSpPr>
          <a:xfrm flipV="1">
            <a:off x="11451289" y="3536991"/>
            <a:ext cx="246001" cy="172643"/>
            <a:chOff x="5753695" y="3190875"/>
            <a:chExt cx="669726" cy="470014"/>
          </a:xfrm>
          <a:solidFill>
            <a:schemeClr val="bg1"/>
          </a:solidFill>
        </p:grpSpPr>
        <p:sp>
          <p:nvSpPr>
            <p:cNvPr id="75" name="Freeform: Shape 74">
              <a:extLst>
                <a:ext uri="{FF2B5EF4-FFF2-40B4-BE49-F238E27FC236}">
                  <a16:creationId xmlns:a16="http://schemas.microsoft.com/office/drawing/2014/main" id="{6180AB4F-658F-439B-AE02-1906DE69380C}"/>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solidFill>
                  <a:schemeClr val="bg1"/>
                </a:solidFill>
                <a:cs typeface="Segoe UI"/>
              </a:endParaRPr>
            </a:p>
          </p:txBody>
        </p:sp>
        <p:sp>
          <p:nvSpPr>
            <p:cNvPr id="76" name="Freeform: Shape 75">
              <a:extLst>
                <a:ext uri="{FF2B5EF4-FFF2-40B4-BE49-F238E27FC236}">
                  <a16:creationId xmlns:a16="http://schemas.microsoft.com/office/drawing/2014/main" id="{C7D3C1FB-2A46-4DC1-B197-CE37BE5E39F1}"/>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solidFill>
                  <a:schemeClr val="bg1"/>
                </a:solidFill>
                <a:cs typeface="Segoe UI"/>
              </a:endParaRPr>
            </a:p>
          </p:txBody>
        </p:sp>
      </p:grpSp>
      <p:sp>
        <p:nvSpPr>
          <p:cNvPr id="77" name="Freeform: Shape 76">
            <a:extLst>
              <a:ext uri="{FF2B5EF4-FFF2-40B4-BE49-F238E27FC236}">
                <a16:creationId xmlns:a16="http://schemas.microsoft.com/office/drawing/2014/main" id="{80C0CEB7-76B0-4B7B-B26F-7C09B853799B}"/>
              </a:ext>
            </a:extLst>
          </p:cNvPr>
          <p:cNvSpPr/>
          <p:nvPr/>
        </p:nvSpPr>
        <p:spPr bwMode="auto">
          <a:xfrm>
            <a:off x="2810257" y="478631"/>
            <a:ext cx="4914516" cy="234601"/>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78" name="Graphic 12">
            <a:extLst>
              <a:ext uri="{FF2B5EF4-FFF2-40B4-BE49-F238E27FC236}">
                <a16:creationId xmlns:a16="http://schemas.microsoft.com/office/drawing/2014/main" id="{A46AE21D-5323-4F16-8714-D585676A7DC5}"/>
              </a:ext>
            </a:extLst>
          </p:cNvPr>
          <p:cNvGrpSpPr/>
          <p:nvPr/>
        </p:nvGrpSpPr>
        <p:grpSpPr>
          <a:xfrm flipH="1">
            <a:off x="2686591" y="769744"/>
            <a:ext cx="246001" cy="172643"/>
            <a:chOff x="5753695" y="3190875"/>
            <a:chExt cx="669726" cy="470014"/>
          </a:xfrm>
          <a:solidFill>
            <a:schemeClr val="bg1"/>
          </a:solidFill>
        </p:grpSpPr>
        <p:sp>
          <p:nvSpPr>
            <p:cNvPr id="79" name="Freeform: Shape 78">
              <a:extLst>
                <a:ext uri="{FF2B5EF4-FFF2-40B4-BE49-F238E27FC236}">
                  <a16:creationId xmlns:a16="http://schemas.microsoft.com/office/drawing/2014/main" id="{A9458110-C712-4E66-9DFF-F73C3CD53E50}"/>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80" name="Freeform: Shape 79">
              <a:extLst>
                <a:ext uri="{FF2B5EF4-FFF2-40B4-BE49-F238E27FC236}">
                  <a16:creationId xmlns:a16="http://schemas.microsoft.com/office/drawing/2014/main" id="{4EF7F98D-E597-40F2-B32A-0067B17CD0F5}"/>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cxnSp>
        <p:nvCxnSpPr>
          <p:cNvPr id="81" name="Straight Connector 80">
            <a:extLst>
              <a:ext uri="{FF2B5EF4-FFF2-40B4-BE49-F238E27FC236}">
                <a16:creationId xmlns:a16="http://schemas.microsoft.com/office/drawing/2014/main" id="{29C8EFE2-96FE-4DAC-878D-4CCE7D05004C}"/>
              </a:ext>
            </a:extLst>
          </p:cNvPr>
          <p:cNvCxnSpPr>
            <a:cxnSpLocks/>
          </p:cNvCxnSpPr>
          <p:nvPr/>
        </p:nvCxnSpPr>
        <p:spPr>
          <a:xfrm>
            <a:off x="2810257" y="1028700"/>
            <a:ext cx="0" cy="2972048"/>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47BB8833-0946-4EC0-B7DD-CE612ED84E06}"/>
              </a:ext>
            </a:extLst>
          </p:cNvPr>
          <p:cNvSpPr/>
          <p:nvPr/>
        </p:nvSpPr>
        <p:spPr bwMode="auto">
          <a:xfrm>
            <a:off x="2697164"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83" name="Text Placeholder 3">
            <a:extLst>
              <a:ext uri="{FF2B5EF4-FFF2-40B4-BE49-F238E27FC236}">
                <a16:creationId xmlns:a16="http://schemas.microsoft.com/office/drawing/2014/main" id="{689A8420-A844-4523-8689-E8CDA87EFF4F}"/>
              </a:ext>
            </a:extLst>
          </p:cNvPr>
          <p:cNvSpPr txBox="1">
            <a:spLocks/>
          </p:cNvSpPr>
          <p:nvPr/>
        </p:nvSpPr>
        <p:spPr>
          <a:xfrm>
            <a:off x="3304370"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Situation</a:t>
            </a:r>
          </a:p>
        </p:txBody>
      </p:sp>
      <p:sp>
        <p:nvSpPr>
          <p:cNvPr id="84" name="Oval 83">
            <a:extLst>
              <a:ext uri="{FF2B5EF4-FFF2-40B4-BE49-F238E27FC236}">
                <a16:creationId xmlns:a16="http://schemas.microsoft.com/office/drawing/2014/main" id="{2D474693-D1AB-4315-8726-79CC1DC442CE}"/>
              </a:ext>
            </a:extLst>
          </p:cNvPr>
          <p:cNvSpPr/>
          <p:nvPr/>
        </p:nvSpPr>
        <p:spPr bwMode="auto">
          <a:xfrm>
            <a:off x="5679868"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85" name="Text Placeholder 3">
            <a:extLst>
              <a:ext uri="{FF2B5EF4-FFF2-40B4-BE49-F238E27FC236}">
                <a16:creationId xmlns:a16="http://schemas.microsoft.com/office/drawing/2014/main" id="{180DD2F3-99CC-4170-B380-B1D97D3130F6}"/>
              </a:ext>
            </a:extLst>
          </p:cNvPr>
          <p:cNvSpPr txBox="1">
            <a:spLocks/>
          </p:cNvSpPr>
          <p:nvPr/>
        </p:nvSpPr>
        <p:spPr>
          <a:xfrm>
            <a:off x="6287074"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Solution</a:t>
            </a:r>
          </a:p>
        </p:txBody>
      </p:sp>
      <p:sp>
        <p:nvSpPr>
          <p:cNvPr id="86" name="Oval 85">
            <a:extLst>
              <a:ext uri="{FF2B5EF4-FFF2-40B4-BE49-F238E27FC236}">
                <a16:creationId xmlns:a16="http://schemas.microsoft.com/office/drawing/2014/main" id="{734E5491-9798-4E6D-8C9D-6EF0B3B073E3}"/>
              </a:ext>
            </a:extLst>
          </p:cNvPr>
          <p:cNvSpPr/>
          <p:nvPr/>
        </p:nvSpPr>
        <p:spPr bwMode="auto">
          <a:xfrm>
            <a:off x="8717327"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87" name="Text Placeholder 3">
            <a:extLst>
              <a:ext uri="{FF2B5EF4-FFF2-40B4-BE49-F238E27FC236}">
                <a16:creationId xmlns:a16="http://schemas.microsoft.com/office/drawing/2014/main" id="{2F8FD3D0-9363-485D-BBB2-2BEAFA8ECE09}"/>
              </a:ext>
            </a:extLst>
          </p:cNvPr>
          <p:cNvSpPr txBox="1">
            <a:spLocks/>
          </p:cNvSpPr>
          <p:nvPr/>
        </p:nvSpPr>
        <p:spPr>
          <a:xfrm>
            <a:off x="9324533"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Impact</a:t>
            </a:r>
          </a:p>
        </p:txBody>
      </p:sp>
      <p:sp>
        <p:nvSpPr>
          <p:cNvPr id="88" name="POI_ECAF" title="Icon of a map location marker">
            <a:extLst>
              <a:ext uri="{FF2B5EF4-FFF2-40B4-BE49-F238E27FC236}">
                <a16:creationId xmlns:a16="http://schemas.microsoft.com/office/drawing/2014/main" id="{57712E41-705B-4BF3-8BA9-0D55F5FD4227}"/>
              </a:ext>
            </a:extLst>
          </p:cNvPr>
          <p:cNvSpPr>
            <a:spLocks noChangeAspect="1" noEditPoints="1"/>
          </p:cNvSpPr>
          <p:nvPr/>
        </p:nvSpPr>
        <p:spPr bwMode="auto">
          <a:xfrm>
            <a:off x="2857800" y="4230246"/>
            <a:ext cx="197206" cy="3155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89" name="Processing_E9F5" title="Icon of two interlocked gears">
            <a:extLst>
              <a:ext uri="{FF2B5EF4-FFF2-40B4-BE49-F238E27FC236}">
                <a16:creationId xmlns:a16="http://schemas.microsoft.com/office/drawing/2014/main" id="{32E5F0EA-C030-463E-A4E8-0EA92F8D29B6}"/>
              </a:ext>
            </a:extLst>
          </p:cNvPr>
          <p:cNvSpPr>
            <a:spLocks noChangeAspect="1" noEditPoints="1"/>
          </p:cNvSpPr>
          <p:nvPr/>
        </p:nvSpPr>
        <p:spPr bwMode="auto">
          <a:xfrm>
            <a:off x="5775215" y="4245288"/>
            <a:ext cx="327783" cy="28547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90" name="check" title="Icon of a checkmark">
            <a:extLst>
              <a:ext uri="{FF2B5EF4-FFF2-40B4-BE49-F238E27FC236}">
                <a16:creationId xmlns:a16="http://schemas.microsoft.com/office/drawing/2014/main" id="{41F185A7-BBCE-4A04-95DB-556CA523DEC8}"/>
              </a:ext>
            </a:extLst>
          </p:cNvPr>
          <p:cNvSpPr>
            <a:spLocks noChangeAspect="1"/>
          </p:cNvSpPr>
          <p:nvPr/>
        </p:nvSpPr>
        <p:spPr bwMode="auto">
          <a:xfrm>
            <a:off x="8834528" y="4287732"/>
            <a:ext cx="284074" cy="200589"/>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endParaRPr>
          </a:p>
        </p:txBody>
      </p:sp>
      <p:pic>
        <p:nvPicPr>
          <p:cNvPr id="51" name="Picture 50" descr="A large body of water&#10;&#10;Description automatically generated">
            <a:extLst>
              <a:ext uri="{FF2B5EF4-FFF2-40B4-BE49-F238E27FC236}">
                <a16:creationId xmlns:a16="http://schemas.microsoft.com/office/drawing/2014/main" id="{2D2554D8-EAB9-44BA-9520-28827DAAC1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1493" t="14695" b="24261"/>
          <a:stretch>
            <a:fillRect/>
          </a:stretch>
        </p:blipFill>
        <p:spPr bwMode="auto">
          <a:xfrm>
            <a:off x="7724775" y="1"/>
            <a:ext cx="4710818" cy="3356987"/>
          </a:xfrm>
          <a:custGeom>
            <a:avLst/>
            <a:gdLst>
              <a:gd name="connsiteX0" fmla="*/ 0 w 4710818"/>
              <a:gd name="connsiteY0" fmla="*/ 0 h 3356987"/>
              <a:gd name="connsiteX1" fmla="*/ 4710818 w 4710818"/>
              <a:gd name="connsiteY1" fmla="*/ 0 h 3356987"/>
              <a:gd name="connsiteX2" fmla="*/ 4710818 w 4710818"/>
              <a:gd name="connsiteY2" fmla="*/ 3356987 h 3356987"/>
              <a:gd name="connsiteX3" fmla="*/ 0 w 4710818"/>
              <a:gd name="connsiteY3" fmla="*/ 3356987 h 3356987"/>
            </a:gdLst>
            <a:ahLst/>
            <a:cxnLst>
              <a:cxn ang="0">
                <a:pos x="connsiteX0" y="connsiteY0"/>
              </a:cxn>
              <a:cxn ang="0">
                <a:pos x="connsiteX1" y="connsiteY1"/>
              </a:cxn>
              <a:cxn ang="0">
                <a:pos x="connsiteX2" y="connsiteY2"/>
              </a:cxn>
              <a:cxn ang="0">
                <a:pos x="connsiteX3" y="connsiteY3"/>
              </a:cxn>
            </a:cxnLst>
            <a:rect l="l" t="t" r="r" b="b"/>
            <a:pathLst>
              <a:path w="4710818" h="3356987">
                <a:moveTo>
                  <a:pt x="0" y="0"/>
                </a:moveTo>
                <a:lnTo>
                  <a:pt x="4710818" y="0"/>
                </a:lnTo>
                <a:lnTo>
                  <a:pt x="4710818" y="3356987"/>
                </a:lnTo>
                <a:lnTo>
                  <a:pt x="0" y="3356987"/>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a:extLst>
              <a:ext uri="{FF2B5EF4-FFF2-40B4-BE49-F238E27FC236}">
                <a16:creationId xmlns:a16="http://schemas.microsoft.com/office/drawing/2014/main" id="{44D6F0E0-89F9-4B23-9B3B-C9F3454A0367}"/>
              </a:ext>
            </a:extLst>
          </p:cNvPr>
          <p:cNvSpPr/>
          <p:nvPr/>
        </p:nvSpPr>
        <p:spPr bwMode="auto">
          <a:xfrm>
            <a:off x="1" y="-1"/>
            <a:ext cx="2470150" cy="6994525"/>
          </a:xfrm>
          <a:prstGeom prst="rect">
            <a:avLst/>
          </a:prstGeom>
          <a:solidFill>
            <a:srgbClr val="E6E6E6"/>
          </a:solidFill>
          <a:ln w="10795" cap="flat" cmpd="sng" algn="ctr">
            <a:noFill/>
            <a:prstDash val="solid"/>
          </a:ln>
          <a:effectLst/>
        </p:spPr>
        <p:txBody>
          <a:bodyPr rtlCol="0" anchor="ctr"/>
          <a:lstStyle/>
          <a:p>
            <a:pPr algn="ctr" defTabSz="913676" rtl="0"/>
            <a:endParaRPr lang="fr-fr" sz="1750" kern="0" dirty="0">
              <a:latin typeface="Segoe UI"/>
              <a:cs typeface="Segoe UI"/>
            </a:endParaRPr>
          </a:p>
        </p:txBody>
      </p:sp>
      <p:cxnSp>
        <p:nvCxnSpPr>
          <p:cNvPr id="31" name="Straight Connector 30">
            <a:extLst>
              <a:ext uri="{FF2B5EF4-FFF2-40B4-BE49-F238E27FC236}">
                <a16:creationId xmlns:a16="http://schemas.microsoft.com/office/drawing/2014/main" id="{60CD3411-9691-4793-AB9E-6417A455DFCC}"/>
              </a:ext>
            </a:extLst>
          </p:cNvPr>
          <p:cNvCxnSpPr>
            <a:cxnSpLocks/>
          </p:cNvCxnSpPr>
          <p:nvPr/>
        </p:nvCxnSpPr>
        <p:spPr>
          <a:xfrm>
            <a:off x="2546021" y="-1"/>
            <a:ext cx="0" cy="6994525"/>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55847341-7364-4EF1-B33B-CAB5839E8ACE}"/>
              </a:ext>
            </a:extLst>
          </p:cNvPr>
          <p:cNvSpPr txBox="1">
            <a:spLocks/>
          </p:cNvSpPr>
          <p:nvPr/>
        </p:nvSpPr>
        <p:spPr>
          <a:xfrm>
            <a:off x="455613" y="2876551"/>
            <a:ext cx="1882919" cy="3181350"/>
          </a:xfrm>
          <a:prstGeom prst="rect">
            <a:avLst/>
          </a:prstGeom>
        </p:spPr>
        <p:txBody>
          <a:bodyPr lIns="0" tIns="0" rIns="0" bIns="0" anchor="t" anchorCtr="0"/>
          <a:lstStyle>
            <a:lvl1pPr marL="0" indent="0" algn="l" defTabSz="932597" rtl="0" eaLnBrk="1" latinLnBrk="0" hangingPunct="1">
              <a:lnSpc>
                <a:spcPct val="100000"/>
              </a:lnSpc>
              <a:spcBef>
                <a:spcPts val="1020"/>
              </a:spcBef>
              <a:buFont typeface="Arial" panose="020B0604020202020204" pitchFamily="34" charset="0"/>
              <a:buNone/>
              <a:defRPr sz="1020" b="1" i="0" kern="1200">
                <a:solidFill>
                  <a:schemeClr val="bg1">
                    <a:lumMod val="50000"/>
                  </a:schemeClr>
                </a:solidFill>
                <a:latin typeface="Segoe UI Semibold" panose="020B0502040204020203" pitchFamily="34" charset="0"/>
                <a:ea typeface="+mn-ea"/>
                <a:cs typeface="Segoe UI Semibold"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algn="l" rtl="0">
              <a:spcBef>
                <a:spcPts val="1200"/>
              </a:spcBef>
              <a:defRPr/>
            </a:pPr>
            <a:r>
              <a:rPr lang="fr-fr" sz="1100" b="1" i="0" u="none" baseline="0" dirty="0">
                <a:solidFill>
                  <a:schemeClr val="tx1"/>
                </a:solidFill>
                <a:latin typeface="Segoe UI Semibold"/>
                <a:cs typeface="Segoe UI Semibold"/>
              </a:rPr>
              <a:t>Client :</a:t>
            </a:r>
            <a:br>
              <a:rPr lang="fr-fr" sz="1100" dirty="0"/>
            </a:br>
            <a:r>
              <a:rPr lang="fr-fr" sz="1100" b="0" i="0" u="none" baseline="0" dirty="0">
                <a:solidFill>
                  <a:schemeClr val="tx1"/>
                </a:solidFill>
                <a:latin typeface="Segoe UI Semilight"/>
                <a:cs typeface="Segoe UI Semilight"/>
              </a:rPr>
              <a:t>Northrop &amp; Johnson</a:t>
            </a:r>
          </a:p>
          <a:p>
            <a:pPr algn="l" rtl="0">
              <a:spcBef>
                <a:spcPts val="1200"/>
              </a:spcBef>
              <a:defRPr/>
            </a:pPr>
            <a:r>
              <a:rPr lang="fr-fr" sz="1100" b="1" i="0" u="none" baseline="0" dirty="0">
                <a:solidFill>
                  <a:schemeClr val="tx1"/>
                </a:solidFill>
                <a:latin typeface="Segoe UI Semibold"/>
                <a:cs typeface="Segoe UI Semibold"/>
              </a:rPr>
              <a:t>Secteur d</a:t>
            </a:r>
            <a:r>
              <a:rPr lang="fr-FR" sz="1100" b="1" i="0" u="none" baseline="0" dirty="0">
                <a:solidFill>
                  <a:schemeClr val="tx1"/>
                </a:solidFill>
                <a:latin typeface="Segoe UI Semibold"/>
                <a:cs typeface="Segoe UI Semibold"/>
              </a:rPr>
              <a:t>’</a:t>
            </a:r>
            <a:r>
              <a:rPr lang="fr-fr" sz="1100" b="1" i="0" u="none" baseline="0" dirty="0">
                <a:solidFill>
                  <a:schemeClr val="tx1"/>
                </a:solidFill>
                <a:latin typeface="Segoe UI Semibold"/>
                <a:cs typeface="Segoe UI Semibold"/>
              </a:rPr>
              <a:t>activité :</a:t>
            </a:r>
            <a:br>
              <a:rPr lang="fr-fr" sz="1100" dirty="0"/>
            </a:br>
            <a:r>
              <a:rPr lang="fr-fr" sz="1100" b="0" i="0" u="none" baseline="0" dirty="0">
                <a:solidFill>
                  <a:schemeClr val="tx1"/>
                </a:solidFill>
                <a:latin typeface="Segoe UI Semilight"/>
                <a:cs typeface="Segoe UI Semilight"/>
              </a:rPr>
              <a:t>Détaillants</a:t>
            </a:r>
          </a:p>
          <a:p>
            <a:pPr algn="l" rtl="0">
              <a:spcBef>
                <a:spcPts val="1200"/>
              </a:spcBef>
              <a:defRPr/>
            </a:pPr>
            <a:r>
              <a:rPr lang="fr-fr" sz="1100" b="1" i="0" u="none" baseline="0" dirty="0">
                <a:solidFill>
                  <a:schemeClr val="tx1"/>
                </a:solidFill>
                <a:latin typeface="Segoe UI Semibold"/>
                <a:cs typeface="Segoe UI Semibold"/>
              </a:rPr>
              <a:t>Taille :</a:t>
            </a:r>
            <a:br>
              <a:rPr lang="fr-fr" sz="1100" dirty="0"/>
            </a:br>
            <a:r>
              <a:rPr lang="fr-fr" sz="1100" b="0" i="0" u="none" baseline="0" dirty="0">
                <a:solidFill>
                  <a:schemeClr val="tx1"/>
                </a:solidFill>
                <a:latin typeface="Segoe UI Semilight"/>
                <a:cs typeface="Segoe UI Semilight"/>
              </a:rPr>
              <a:t>50 – 999 employés</a:t>
            </a:r>
          </a:p>
          <a:p>
            <a:pPr algn="l" rtl="0">
              <a:spcBef>
                <a:spcPts val="1200"/>
              </a:spcBef>
              <a:defRPr/>
            </a:pPr>
            <a:r>
              <a:rPr lang="fr-fr" sz="1100" b="1" i="0" u="none" baseline="0" dirty="0">
                <a:solidFill>
                  <a:schemeClr val="tx1"/>
                </a:solidFill>
                <a:latin typeface="Segoe UI Semibold"/>
                <a:cs typeface="Segoe UI Semibold"/>
              </a:rPr>
              <a:t>Pays :</a:t>
            </a:r>
            <a:br>
              <a:rPr lang="fr-fr" sz="1100" dirty="0"/>
            </a:br>
            <a:r>
              <a:rPr lang="fr-fr" sz="1100" b="0" i="0" u="none" baseline="0" dirty="0">
                <a:solidFill>
                  <a:schemeClr val="tx1"/>
                </a:solidFill>
                <a:latin typeface="Segoe UI Semilight"/>
                <a:cs typeface="Segoe UI Semilight"/>
              </a:rPr>
              <a:t>États-Unis</a:t>
            </a:r>
            <a:endParaRPr lang="fr-fr" sz="1100" dirty="0">
              <a:solidFill>
                <a:schemeClr val="tx1"/>
              </a:solidFill>
              <a:latin typeface="Segoe UI Semilight"/>
              <a:cs typeface="Segoe UI Semilight"/>
            </a:endParaRPr>
          </a:p>
          <a:p>
            <a:pPr algn="l" rtl="0">
              <a:spcBef>
                <a:spcPts val="1200"/>
              </a:spcBef>
              <a:defRPr/>
            </a:pPr>
            <a:r>
              <a:rPr lang="fr-fr" sz="1100" b="1" i="0" u="none" baseline="0" dirty="0">
                <a:solidFill>
                  <a:schemeClr val="tx1"/>
                </a:solidFill>
                <a:latin typeface="Segoe UI Semibold"/>
                <a:cs typeface="Segoe UI Semibold"/>
              </a:rPr>
              <a:t>Produits et services :</a:t>
            </a:r>
            <a:br>
              <a:rPr lang="fr-fr" sz="1100" dirty="0"/>
            </a:br>
            <a:r>
              <a:rPr lang="fr-fr" sz="1100" b="0" i="0" u="none" baseline="0" dirty="0">
                <a:solidFill>
                  <a:schemeClr val="tx1"/>
                </a:solidFill>
                <a:latin typeface="Segoe UI Semilight"/>
                <a:cs typeface="Segoe UI Semilight"/>
              </a:rPr>
              <a:t>Microsoft Dynamics 365</a:t>
            </a:r>
            <a:br>
              <a:rPr lang="fr-fr" sz="1100" b="0" dirty="0">
                <a:latin typeface="Segoe UI Semilight" panose="020B0402040204020203" pitchFamily="34" charset="0"/>
                <a:cs typeface="Segoe UI Semilight" panose="020B0402040204020203" pitchFamily="34" charset="0"/>
              </a:rPr>
            </a:br>
            <a:r>
              <a:rPr lang="fr-fr" sz="1100" b="0" i="0" u="none" baseline="0" dirty="0">
                <a:solidFill>
                  <a:schemeClr val="tx1"/>
                </a:solidFill>
                <a:latin typeface="Segoe UI Semilight"/>
                <a:cs typeface="Segoe UI Semilight"/>
              </a:rPr>
              <a:t>Dynamics 365 for Marketing</a:t>
            </a:r>
            <a:br>
              <a:rPr lang="fr-fr" sz="1100" b="0" dirty="0">
                <a:latin typeface="Segoe UI Semilight" panose="020B0402040204020203" pitchFamily="34" charset="0"/>
                <a:cs typeface="Segoe UI Semilight" panose="020B0402040204020203" pitchFamily="34" charset="0"/>
              </a:rPr>
            </a:br>
            <a:r>
              <a:rPr lang="fr-fr" sz="1100" b="0" i="0" u="none" baseline="0" dirty="0">
                <a:solidFill>
                  <a:schemeClr val="tx1"/>
                </a:solidFill>
                <a:latin typeface="Segoe UI Semilight"/>
                <a:cs typeface="Segoe UI Semilight"/>
              </a:rPr>
              <a:t>Dynamics 365 for Sales</a:t>
            </a:r>
            <a:br>
              <a:rPr lang="fr-fr" sz="1100" b="0" dirty="0">
                <a:latin typeface="Segoe UI Semilight" panose="020B0402040204020203" pitchFamily="34" charset="0"/>
                <a:cs typeface="Segoe UI Semilight" panose="020B0402040204020203" pitchFamily="34" charset="0"/>
              </a:rPr>
            </a:br>
            <a:r>
              <a:rPr lang="fr-fr" sz="1100" b="0" i="0" u="none" baseline="0" dirty="0">
                <a:solidFill>
                  <a:schemeClr val="tx1"/>
                </a:solidFill>
                <a:latin typeface="Segoe UI Semilight"/>
                <a:cs typeface="Segoe UI Semilight"/>
              </a:rPr>
              <a:t>Microsoft 365 </a:t>
            </a:r>
            <a:br>
              <a:rPr lang="fr-fr" sz="1100" b="0" dirty="0">
                <a:latin typeface="Segoe UI Semilight" panose="020B0402040204020203" pitchFamily="34" charset="0"/>
                <a:cs typeface="Segoe UI Semilight" panose="020B0402040204020203" pitchFamily="34" charset="0"/>
              </a:rPr>
            </a:br>
            <a:r>
              <a:rPr lang="fr-fr" sz="1100" b="0" i="0" u="none" baseline="0" dirty="0">
                <a:solidFill>
                  <a:schemeClr val="tx1"/>
                </a:solidFill>
                <a:latin typeface="Segoe UI Semilight"/>
                <a:cs typeface="Segoe UI Semilight"/>
              </a:rPr>
              <a:t>Microsoft Power BI</a:t>
            </a:r>
          </a:p>
          <a:p>
            <a:pPr>
              <a:spcBef>
                <a:spcPts val="1200"/>
              </a:spcBef>
              <a:defRPr/>
            </a:pPr>
            <a:r>
              <a:rPr lang="fr-FR" sz="1100" dirty="0">
                <a:latin typeface="Segoe UI Semibold"/>
                <a:cs typeface="Segoe UI Semibold"/>
                <a:hlinkClick r:id="rId4"/>
              </a:rPr>
              <a:t>Consultez toute l’histoire ici</a:t>
            </a:r>
            <a:endParaRPr lang="fr-fr" sz="1100">
              <a:latin typeface="Segoe UI Semibold"/>
              <a:cs typeface="Segoe UI Semibold"/>
            </a:endParaRPr>
          </a:p>
        </p:txBody>
      </p:sp>
      <p:sp>
        <p:nvSpPr>
          <p:cNvPr id="33" name="Text Placeholder 1">
            <a:extLst>
              <a:ext uri="{FF2B5EF4-FFF2-40B4-BE49-F238E27FC236}">
                <a16:creationId xmlns:a16="http://schemas.microsoft.com/office/drawing/2014/main" id="{DB95B0EA-4566-461F-B1A3-953C96BE9CA5}"/>
              </a:ext>
            </a:extLst>
          </p:cNvPr>
          <p:cNvSpPr txBox="1">
            <a:spLocks/>
          </p:cNvSpPr>
          <p:nvPr/>
        </p:nvSpPr>
        <p:spPr>
          <a:xfrm>
            <a:off x="3179677" y="588418"/>
            <a:ext cx="4392698" cy="2459581"/>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Bef>
                <a:spcPts val="0"/>
              </a:spcBef>
              <a:buNone/>
            </a:pPr>
            <a:r>
              <a:rPr lang="fr-fr" sz="2000" b="0" i="0" u="none" baseline="0" dirty="0">
                <a:cs typeface="Segoe UI"/>
              </a:rPr>
              <a:t>Depuis que nous avons déployé Dynamics 365, nous avons constaté une augmentation de 70 % des ventes d</a:t>
            </a:r>
            <a:r>
              <a:rPr lang="fr-FR" sz="2000" b="0" i="0" u="none" baseline="0" dirty="0">
                <a:cs typeface="Segoe UI"/>
              </a:rPr>
              <a:t>’</a:t>
            </a:r>
            <a:r>
              <a:rPr lang="fr-fr" sz="2000" b="0" i="0" u="none" baseline="0" dirty="0">
                <a:cs typeface="Segoe UI"/>
              </a:rPr>
              <a:t>affrètements. Nous impliquons maintenant d</a:t>
            </a:r>
            <a:r>
              <a:rPr lang="fr-FR" sz="2000" b="0" i="0" u="none" baseline="0" dirty="0">
                <a:cs typeface="Segoe UI"/>
              </a:rPr>
              <a:t>’</a:t>
            </a:r>
            <a:r>
              <a:rPr lang="fr-fr" sz="2000" b="0" i="0" u="none" baseline="0" dirty="0">
                <a:cs typeface="Segoe UI"/>
              </a:rPr>
              <a:t>autres départements afin de créer un pôle central pour toutes nos activités de marketing, de vente </a:t>
            </a:r>
            <a:br>
              <a:rPr lang="fr-fr" sz="2000" b="0" i="0" u="none" baseline="0" dirty="0"/>
            </a:br>
            <a:r>
              <a:rPr lang="fr-fr" sz="2000" b="0" i="0" u="none" baseline="0" dirty="0">
                <a:cs typeface="Segoe UI"/>
              </a:rPr>
              <a:t>et de relation clientèle.</a:t>
            </a:r>
          </a:p>
        </p:txBody>
      </p:sp>
      <p:sp>
        <p:nvSpPr>
          <p:cNvPr id="36" name="Text Placeholder 11">
            <a:extLst>
              <a:ext uri="{FF2B5EF4-FFF2-40B4-BE49-F238E27FC236}">
                <a16:creationId xmlns:a16="http://schemas.microsoft.com/office/drawing/2014/main" id="{E5D89D34-E362-4788-83B1-F29D57A7E7B4}"/>
              </a:ext>
            </a:extLst>
          </p:cNvPr>
          <p:cNvSpPr txBox="1">
            <a:spLocks/>
          </p:cNvSpPr>
          <p:nvPr/>
        </p:nvSpPr>
        <p:spPr>
          <a:xfrm>
            <a:off x="5679867" y="4765779"/>
            <a:ext cx="2832104"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400" b="0" i="0" u="none" baseline="0" dirty="0">
                <a:cs typeface="Segoe UI"/>
              </a:rPr>
              <a:t>En utilisant Microsoft Dynamics 365 for Marketing, Dynamics 365 for Sales et Power BI, Northrop &amp; Johnson a unifié ses données sur sa clientèle, normalisé ses processus commerciaux et gagné en efficacité et en visibilité sur ses clients.</a:t>
            </a:r>
          </a:p>
        </p:txBody>
      </p:sp>
      <p:sp>
        <p:nvSpPr>
          <p:cNvPr id="37" name="Text Placeholder 14">
            <a:extLst>
              <a:ext uri="{FF2B5EF4-FFF2-40B4-BE49-F238E27FC236}">
                <a16:creationId xmlns:a16="http://schemas.microsoft.com/office/drawing/2014/main" id="{167020C5-8C35-43B6-A577-B452CD027AD0}"/>
              </a:ext>
            </a:extLst>
          </p:cNvPr>
          <p:cNvSpPr txBox="1">
            <a:spLocks/>
          </p:cNvSpPr>
          <p:nvPr/>
        </p:nvSpPr>
        <p:spPr>
          <a:xfrm>
            <a:off x="8717327" y="4765779"/>
            <a:ext cx="3112723"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400" b="0" i="0" u="none" baseline="0" dirty="0">
                <a:cs typeface="Segoe UI"/>
              </a:rPr>
              <a:t>Avec Dynamics 365, Northrop &amp; Johnson a augmenté ses ventes d</a:t>
            </a:r>
            <a:r>
              <a:rPr lang="fr-FR" sz="1400" b="0" i="0" u="none" baseline="0" dirty="0">
                <a:cs typeface="Segoe UI"/>
              </a:rPr>
              <a:t>’</a:t>
            </a:r>
            <a:r>
              <a:rPr lang="fr-fr" sz="1400" b="0" i="0" u="none" baseline="0" dirty="0">
                <a:cs typeface="Segoe UI"/>
              </a:rPr>
              <a:t>affrètements de 70 %, adapté sa stratégie marketing à chaque client, gagné en efficacité dans ses processus de vente et de marketing, et a fait de chaque interaction avec le client une expérience plus personnalisée, plus pertinente et plus unique.</a:t>
            </a:r>
          </a:p>
        </p:txBody>
      </p:sp>
      <p:sp>
        <p:nvSpPr>
          <p:cNvPr id="38" name="Text Placeholder 4">
            <a:extLst>
              <a:ext uri="{FF2B5EF4-FFF2-40B4-BE49-F238E27FC236}">
                <a16:creationId xmlns:a16="http://schemas.microsoft.com/office/drawing/2014/main" id="{7F1CF928-66DD-4CF2-ADD2-6127294A29EB}"/>
              </a:ext>
            </a:extLst>
          </p:cNvPr>
          <p:cNvSpPr txBox="1">
            <a:spLocks/>
          </p:cNvSpPr>
          <p:nvPr/>
        </p:nvSpPr>
        <p:spPr>
          <a:xfrm>
            <a:off x="2794144" y="4765779"/>
            <a:ext cx="2680369"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400" b="0" i="0" u="none" baseline="0" dirty="0">
                <a:cs typeface="Segoe UI"/>
              </a:rPr>
              <a:t>Il n</a:t>
            </a:r>
            <a:r>
              <a:rPr lang="fr-FR" sz="1400" b="0" i="0" u="none" baseline="0" dirty="0">
                <a:cs typeface="Segoe UI"/>
              </a:rPr>
              <a:t>’</a:t>
            </a:r>
            <a:r>
              <a:rPr lang="fr-fr" sz="1400" b="0" i="0" u="none" baseline="0" dirty="0">
                <a:cs typeface="Segoe UI"/>
              </a:rPr>
              <a:t>est jamais facile de satisfaire certains des clients les plus exigeants au monde. Le courtier en yachts de luxe Northrop &amp; Johnson avait besoin d</a:t>
            </a:r>
            <a:r>
              <a:rPr lang="fr-FR" sz="1400" b="0" i="0" u="none" baseline="0" dirty="0">
                <a:cs typeface="Segoe UI"/>
              </a:rPr>
              <a:t>’</a:t>
            </a:r>
            <a:r>
              <a:rPr lang="fr-fr" sz="1400" b="0" i="0" u="none" baseline="0" dirty="0">
                <a:cs typeface="Segoe UI"/>
              </a:rPr>
              <a:t>informations détaillées sur les comportements de ses clients pour leur offrir les expériences d</a:t>
            </a:r>
            <a:r>
              <a:rPr lang="fr-FR" sz="1400" b="0" i="0" u="none" baseline="0" dirty="0">
                <a:cs typeface="Segoe UI"/>
              </a:rPr>
              <a:t>’</a:t>
            </a:r>
            <a:r>
              <a:rPr lang="fr-fr" sz="1400" b="0" i="0" u="none" baseline="0" dirty="0">
                <a:cs typeface="Segoe UI"/>
              </a:rPr>
              <a:t>exception qu</a:t>
            </a:r>
            <a:r>
              <a:rPr lang="fr-FR" sz="1400" b="0" i="0" u="none" baseline="0" dirty="0">
                <a:cs typeface="Segoe UI"/>
              </a:rPr>
              <a:t>’</a:t>
            </a:r>
            <a:r>
              <a:rPr lang="fr-fr" sz="1400" b="0" i="0" u="none" baseline="0" dirty="0">
                <a:cs typeface="Segoe UI"/>
              </a:rPr>
              <a:t>ils attendent.</a:t>
            </a:r>
          </a:p>
        </p:txBody>
      </p:sp>
      <p:cxnSp>
        <p:nvCxnSpPr>
          <p:cNvPr id="43" name="Straight Connector 42">
            <a:extLst>
              <a:ext uri="{FF2B5EF4-FFF2-40B4-BE49-F238E27FC236}">
                <a16:creationId xmlns:a16="http://schemas.microsoft.com/office/drawing/2014/main" id="{1AE3B6CE-D605-4CD1-BAF2-394D813E5F51}"/>
              </a:ext>
            </a:extLst>
          </p:cNvPr>
          <p:cNvCxnSpPr>
            <a:cxnSpLocks/>
          </p:cNvCxnSpPr>
          <p:nvPr/>
        </p:nvCxnSpPr>
        <p:spPr>
          <a:xfrm>
            <a:off x="5577190" y="4128788"/>
            <a:ext cx="0" cy="2595862"/>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1728B22-4167-46B1-87A9-44CAC0E8A5E8}"/>
              </a:ext>
            </a:extLst>
          </p:cNvPr>
          <p:cNvCxnSpPr>
            <a:cxnSpLocks/>
          </p:cNvCxnSpPr>
          <p:nvPr/>
        </p:nvCxnSpPr>
        <p:spPr>
          <a:xfrm>
            <a:off x="8614648" y="4128788"/>
            <a:ext cx="0" cy="2595862"/>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48" name="Text Placeholder 3">
            <a:extLst>
              <a:ext uri="{FF2B5EF4-FFF2-40B4-BE49-F238E27FC236}">
                <a16:creationId xmlns:a16="http://schemas.microsoft.com/office/drawing/2014/main" id="{15B1B9A1-3987-4741-B95E-0FB52B0176D2}"/>
              </a:ext>
            </a:extLst>
          </p:cNvPr>
          <p:cNvSpPr txBox="1">
            <a:spLocks/>
          </p:cNvSpPr>
          <p:nvPr/>
        </p:nvSpPr>
        <p:spPr>
          <a:xfrm>
            <a:off x="3179677" y="3556000"/>
            <a:ext cx="7685947" cy="200025"/>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lvl="0" indent="0" algn="l" defTabSz="932688" rtl="0">
              <a:spcBef>
                <a:spcPts val="0"/>
              </a:spcBef>
              <a:buSzTx/>
              <a:buNone/>
            </a:pPr>
            <a:r>
              <a:rPr lang="fr-fr" sz="2000" b="0" i="0" u="none" baseline="0" dirty="0">
                <a:solidFill>
                  <a:schemeClr val="bg1"/>
                </a:solidFill>
                <a:latin typeface="Segoe UI Semibold"/>
                <a:cs typeface="+mn-cs"/>
              </a:rPr>
              <a:t>Daniel </a:t>
            </a:r>
            <a:r>
              <a:rPr lang="fr-fr" sz="2000" b="0" i="0" u="none" baseline="0" dirty="0" err="1">
                <a:solidFill>
                  <a:schemeClr val="bg1"/>
                </a:solidFill>
                <a:latin typeface="Segoe UI Semibold"/>
                <a:cs typeface="+mn-cs"/>
              </a:rPr>
              <a:t>Ziriakus</a:t>
            </a:r>
            <a:r>
              <a:rPr lang="fr-fr" sz="2000" b="0" i="0" u="none" baseline="0" dirty="0">
                <a:solidFill>
                  <a:schemeClr val="bg1"/>
                </a:solidFill>
                <a:latin typeface="+mj-lt"/>
                <a:cs typeface="+mn-cs"/>
              </a:rPr>
              <a:t>,</a:t>
            </a:r>
            <a:r>
              <a:rPr lang="fr-fr" sz="1400" b="0" i="1" u="none" baseline="0" dirty="0">
                <a:solidFill>
                  <a:schemeClr val="bg1"/>
                </a:solidFill>
                <a:cs typeface="+mn-cs"/>
              </a:rPr>
              <a:t> </a:t>
            </a:r>
            <a:r>
              <a:rPr lang="fr-fr" sz="1400" b="0" i="0" u="none" baseline="0" dirty="0">
                <a:solidFill>
                  <a:schemeClr val="bg1"/>
                </a:solidFill>
                <a:cs typeface="+mn-cs"/>
              </a:rPr>
              <a:t>Chief Operating </a:t>
            </a:r>
            <a:r>
              <a:rPr lang="fr-fr" sz="1400" b="0" i="0" u="none" baseline="0" dirty="0" err="1">
                <a:solidFill>
                  <a:schemeClr val="bg1"/>
                </a:solidFill>
                <a:cs typeface="+mn-cs"/>
              </a:rPr>
              <a:t>Officer</a:t>
            </a:r>
            <a:r>
              <a:rPr lang="fr-fr" sz="1400" b="0" i="0" u="none" baseline="0" dirty="0">
                <a:solidFill>
                  <a:schemeClr val="bg1"/>
                </a:solidFill>
                <a:cs typeface="+mn-cs"/>
              </a:rPr>
              <a:t>, Northrop &amp; Johnson</a:t>
            </a:r>
            <a:endParaRPr lang="fr-fr" sz="1400" b="0" i="0" u="none" baseline="0" dirty="0">
              <a:solidFill>
                <a:schemeClr val="bg1"/>
              </a:solidFill>
              <a:cs typeface="Segoe UI"/>
            </a:endParaRPr>
          </a:p>
        </p:txBody>
      </p:sp>
      <p:pic>
        <p:nvPicPr>
          <p:cNvPr id="2" name="Picture 1">
            <a:extLst>
              <a:ext uri="{FF2B5EF4-FFF2-40B4-BE49-F238E27FC236}">
                <a16:creationId xmlns:a16="http://schemas.microsoft.com/office/drawing/2014/main" id="{D0A5A08A-7C53-D14E-AFDF-D5979B744120}"/>
              </a:ext>
            </a:extLst>
          </p:cNvPr>
          <p:cNvPicPr>
            <a:picLocks noChangeAspect="1"/>
          </p:cNvPicPr>
          <p:nvPr/>
        </p:nvPicPr>
        <p:blipFill>
          <a:blip r:embed="rId5"/>
          <a:stretch>
            <a:fillRect/>
          </a:stretch>
        </p:blipFill>
        <p:spPr>
          <a:xfrm>
            <a:off x="318560" y="-318250"/>
            <a:ext cx="1828362" cy="1828362"/>
          </a:xfrm>
          <a:prstGeom prst="rect">
            <a:avLst/>
          </a:prstGeom>
        </p:spPr>
      </p:pic>
    </p:spTree>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91BA812-A883-44BB-B2E8-EF3B91BE9844}"/>
              </a:ext>
            </a:extLst>
          </p:cNvPr>
          <p:cNvSpPr/>
          <p:nvPr/>
        </p:nvSpPr>
        <p:spPr bwMode="auto">
          <a:xfrm>
            <a:off x="11761779" y="1010127"/>
            <a:ext cx="674695" cy="20175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63" name="Picture 62">
            <a:extLst>
              <a:ext uri="{FF2B5EF4-FFF2-40B4-BE49-F238E27FC236}">
                <a16:creationId xmlns:a16="http://schemas.microsoft.com/office/drawing/2014/main" id="{318F0E43-DD34-4853-B550-005B749EFB1A}"/>
              </a:ext>
            </a:extLst>
          </p:cNvPr>
          <p:cNvPicPr>
            <a:picLocks noChangeAspect="1"/>
          </p:cNvPicPr>
          <p:nvPr/>
        </p:nvPicPr>
        <p:blipFill rotWithShape="1">
          <a:blip r:embed="rId3"/>
          <a:srcRect l="26873" t="17756" r="1746" b="23796"/>
          <a:stretch/>
        </p:blipFill>
        <p:spPr>
          <a:xfrm>
            <a:off x="5073445" y="478631"/>
            <a:ext cx="6688342" cy="3080544"/>
          </a:xfrm>
          <a:custGeom>
            <a:avLst/>
            <a:gdLst>
              <a:gd name="connsiteX0" fmla="*/ 0 w 6688342"/>
              <a:gd name="connsiteY0" fmla="*/ 0 h 3080544"/>
              <a:gd name="connsiteX1" fmla="*/ 6688342 w 6688342"/>
              <a:gd name="connsiteY1" fmla="*/ 0 h 3080544"/>
              <a:gd name="connsiteX2" fmla="*/ 6688342 w 6688342"/>
              <a:gd name="connsiteY2" fmla="*/ 3080544 h 3080544"/>
              <a:gd name="connsiteX3" fmla="*/ 0 w 6688342"/>
              <a:gd name="connsiteY3" fmla="*/ 3080544 h 3080544"/>
            </a:gdLst>
            <a:ahLst/>
            <a:cxnLst>
              <a:cxn ang="0">
                <a:pos x="connsiteX0" y="connsiteY0"/>
              </a:cxn>
              <a:cxn ang="0">
                <a:pos x="connsiteX1" y="connsiteY1"/>
              </a:cxn>
              <a:cxn ang="0">
                <a:pos x="connsiteX2" y="connsiteY2"/>
              </a:cxn>
              <a:cxn ang="0">
                <a:pos x="connsiteX3" y="connsiteY3"/>
              </a:cxn>
            </a:cxnLst>
            <a:rect l="l" t="t" r="r" b="b"/>
            <a:pathLst>
              <a:path w="6688342" h="3080544">
                <a:moveTo>
                  <a:pt x="0" y="0"/>
                </a:moveTo>
                <a:lnTo>
                  <a:pt x="6688342" y="0"/>
                </a:lnTo>
                <a:lnTo>
                  <a:pt x="6688342" y="3080544"/>
                </a:lnTo>
                <a:lnTo>
                  <a:pt x="0" y="3080544"/>
                </a:lnTo>
                <a:close/>
              </a:path>
            </a:pathLst>
          </a:custGeom>
        </p:spPr>
      </p:pic>
      <p:sp>
        <p:nvSpPr>
          <p:cNvPr id="23" name="Freeform: Shape 22">
            <a:extLst>
              <a:ext uri="{FF2B5EF4-FFF2-40B4-BE49-F238E27FC236}">
                <a16:creationId xmlns:a16="http://schemas.microsoft.com/office/drawing/2014/main" id="{C334BF10-5966-4FAF-B912-99B1D3BFA30D}"/>
              </a:ext>
            </a:extLst>
          </p:cNvPr>
          <p:cNvSpPr/>
          <p:nvPr/>
        </p:nvSpPr>
        <p:spPr bwMode="auto">
          <a:xfrm flipH="1" flipV="1">
            <a:off x="-1" y="3340555"/>
            <a:ext cx="4771769" cy="218620"/>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sp>
        <p:nvSpPr>
          <p:cNvPr id="27" name="Freeform: Shape 26">
            <a:extLst>
              <a:ext uri="{FF2B5EF4-FFF2-40B4-BE49-F238E27FC236}">
                <a16:creationId xmlns:a16="http://schemas.microsoft.com/office/drawing/2014/main" id="{9B372AE0-947A-4D94-BC54-802CA83A8F23}"/>
              </a:ext>
            </a:extLst>
          </p:cNvPr>
          <p:cNvSpPr/>
          <p:nvPr/>
        </p:nvSpPr>
        <p:spPr bwMode="auto">
          <a:xfrm>
            <a:off x="584201" y="1138609"/>
            <a:ext cx="4317999" cy="2117811"/>
          </a:xfrm>
          <a:custGeom>
            <a:avLst/>
            <a:gdLst>
              <a:gd name="connsiteX0" fmla="*/ 0 w 12191998"/>
              <a:gd name="connsiteY0" fmla="*/ 0 h 1691640"/>
              <a:gd name="connsiteX1" fmla="*/ 12191998 w 12191998"/>
              <a:gd name="connsiteY1" fmla="*/ 0 h 1691640"/>
              <a:gd name="connsiteX2" fmla="*/ 12191998 w 12191998"/>
              <a:gd name="connsiteY2" fmla="*/ 1691640 h 1691640"/>
              <a:gd name="connsiteX3" fmla="*/ 0 w 12191998"/>
              <a:gd name="connsiteY3" fmla="*/ 1691640 h 1691640"/>
              <a:gd name="connsiteX4" fmla="*/ 0 w 12191998"/>
              <a:gd name="connsiteY4" fmla="*/ 0 h 1691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98" h="1691640">
                <a:moveTo>
                  <a:pt x="0" y="0"/>
                </a:moveTo>
                <a:lnTo>
                  <a:pt x="12191998" y="0"/>
                </a:lnTo>
                <a:lnTo>
                  <a:pt x="12191998" y="1691640"/>
                </a:lnTo>
                <a:lnTo>
                  <a:pt x="0" y="1691640"/>
                </a:lnTo>
                <a:lnTo>
                  <a:pt x="0" y="0"/>
                </a:ln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l" rtl="0">
              <a:defRPr/>
            </a:pPr>
            <a:r>
              <a:rPr lang="fr-fr" sz="2000" b="0" i="1" u="none" baseline="0" dirty="0">
                <a:solidFill>
                  <a:schemeClr val="tx1"/>
                </a:solidFill>
              </a:rPr>
              <a:t>Travailler avec Microsoft permet à nos équipes de terrain de faire la différence en nous donnant les données et les outils numériques nécessaires pour optimiser nos relations avec nos clients.</a:t>
            </a:r>
            <a:endParaRPr lang="fr-fr" sz="2000" b="0" i="1" u="none" baseline="0" dirty="0">
              <a:solidFill>
                <a:schemeClr val="tx1"/>
              </a:solidFill>
              <a:cs typeface="Segoe UI"/>
            </a:endParaRPr>
          </a:p>
          <a:p>
            <a:pPr lvl="0" algn="l" rtl="0">
              <a:spcBef>
                <a:spcPts val="600"/>
              </a:spcBef>
              <a:defRPr/>
            </a:pPr>
            <a:r>
              <a:rPr lang="fr-fr" sz="2000" b="0" i="0" u="none" baseline="0" dirty="0" err="1">
                <a:solidFill>
                  <a:schemeClr val="tx2"/>
                </a:solidFill>
                <a:latin typeface="+mj-lt"/>
              </a:rPr>
              <a:t>Darrell</a:t>
            </a:r>
            <a:r>
              <a:rPr lang="fr-fr" sz="2000" b="0" i="0" u="none" baseline="0" dirty="0">
                <a:solidFill>
                  <a:schemeClr val="tx2"/>
                </a:solidFill>
                <a:latin typeface="+mj-lt"/>
              </a:rPr>
              <a:t> Brown</a:t>
            </a:r>
            <a:br>
              <a:rPr lang="fr-fr" sz="2000" dirty="0">
                <a:latin typeface="+mj-lt"/>
              </a:rPr>
            </a:br>
            <a:r>
              <a:rPr lang="fr-fr" sz="1400" b="0" i="0" u="none" baseline="0" dirty="0" err="1">
                <a:solidFill>
                  <a:schemeClr val="tx2"/>
                </a:solidFill>
              </a:rPr>
              <a:t>Executive</a:t>
            </a:r>
            <a:r>
              <a:rPr lang="fr-fr" sz="1400" b="0" i="0" u="none" baseline="0" dirty="0">
                <a:solidFill>
                  <a:schemeClr val="tx2"/>
                </a:solidFill>
              </a:rPr>
              <a:t> Vice </a:t>
            </a:r>
            <a:r>
              <a:rPr lang="fr-fr" sz="1400" b="0" i="0" u="none" baseline="0" dirty="0" err="1">
                <a:solidFill>
                  <a:schemeClr val="tx2"/>
                </a:solidFill>
              </a:rPr>
              <a:t>President</a:t>
            </a:r>
            <a:r>
              <a:rPr lang="fr-fr" sz="1400" b="0" i="0" u="none" baseline="0" dirty="0">
                <a:solidFill>
                  <a:schemeClr val="tx2"/>
                </a:solidFill>
              </a:rPr>
              <a:t>, </a:t>
            </a:r>
            <a:r>
              <a:rPr lang="fr-fr" sz="1400" b="0" i="0" u="none" baseline="0" dirty="0" err="1">
                <a:solidFill>
                  <a:schemeClr val="tx2"/>
                </a:solidFill>
              </a:rPr>
              <a:t>Ecolab</a:t>
            </a:r>
            <a:endParaRPr lang="fr-fr" sz="1400" b="0" i="0" u="none" baseline="0" dirty="0" err="1">
              <a:solidFill>
                <a:schemeClr val="tx2"/>
              </a:solidFill>
              <a:cs typeface="Segoe UI"/>
            </a:endParaRPr>
          </a:p>
        </p:txBody>
      </p:sp>
      <p:sp>
        <p:nvSpPr>
          <p:cNvPr id="28" name="Freeform: Shape 27">
            <a:extLst>
              <a:ext uri="{FF2B5EF4-FFF2-40B4-BE49-F238E27FC236}">
                <a16:creationId xmlns:a16="http://schemas.microsoft.com/office/drawing/2014/main" id="{645FF8E9-41A2-451F-9975-6D075EA88FE9}"/>
              </a:ext>
            </a:extLst>
          </p:cNvPr>
          <p:cNvSpPr/>
          <p:nvPr/>
        </p:nvSpPr>
        <p:spPr bwMode="auto">
          <a:xfrm>
            <a:off x="783445" y="478631"/>
            <a:ext cx="4223529" cy="463550"/>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29" name="Group 28">
            <a:extLst>
              <a:ext uri="{FF2B5EF4-FFF2-40B4-BE49-F238E27FC236}">
                <a16:creationId xmlns:a16="http://schemas.microsoft.com/office/drawing/2014/main" id="{1EFC617B-43A3-4160-BFFC-375038154DBD}"/>
              </a:ext>
            </a:extLst>
          </p:cNvPr>
          <p:cNvGrpSpPr/>
          <p:nvPr/>
        </p:nvGrpSpPr>
        <p:grpSpPr>
          <a:xfrm>
            <a:off x="584200" y="670486"/>
            <a:ext cx="371160" cy="371160"/>
            <a:chOff x="490380" y="1113631"/>
            <a:chExt cx="766762" cy="766762"/>
          </a:xfrm>
        </p:grpSpPr>
        <p:sp>
          <p:nvSpPr>
            <p:cNvPr id="30" name="Oval 29">
              <a:extLst>
                <a:ext uri="{FF2B5EF4-FFF2-40B4-BE49-F238E27FC236}">
                  <a16:creationId xmlns:a16="http://schemas.microsoft.com/office/drawing/2014/main" id="{D228A0EC-777E-41A3-BA15-64585F19C0B1}"/>
                </a:ext>
              </a:extLst>
            </p:cNvPr>
            <p:cNvSpPr/>
            <p:nvPr/>
          </p:nvSpPr>
          <p:spPr bwMode="auto">
            <a:xfrm>
              <a:off x="490380" y="1113631"/>
              <a:ext cx="766762" cy="76676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31" name="Graphic 12">
              <a:extLst>
                <a:ext uri="{FF2B5EF4-FFF2-40B4-BE49-F238E27FC236}">
                  <a16:creationId xmlns:a16="http://schemas.microsoft.com/office/drawing/2014/main" id="{BE1182EC-70EF-4616-8550-9B301DE264EC}"/>
                </a:ext>
              </a:extLst>
            </p:cNvPr>
            <p:cNvGrpSpPr/>
            <p:nvPr/>
          </p:nvGrpSpPr>
          <p:grpSpPr>
            <a:xfrm flipH="1">
              <a:off x="619660" y="1318684"/>
              <a:ext cx="508202" cy="356656"/>
              <a:chOff x="5753695" y="3190875"/>
              <a:chExt cx="669726" cy="470014"/>
            </a:xfrm>
            <a:solidFill>
              <a:schemeClr val="bg1"/>
            </a:solidFill>
          </p:grpSpPr>
          <p:sp>
            <p:nvSpPr>
              <p:cNvPr id="32" name="Freeform: Shape 31">
                <a:extLst>
                  <a:ext uri="{FF2B5EF4-FFF2-40B4-BE49-F238E27FC236}">
                    <a16:creationId xmlns:a16="http://schemas.microsoft.com/office/drawing/2014/main" id="{F670FA0C-424C-4CC0-9319-F9E7B16C80E0}"/>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33" name="Freeform: Shape 32">
                <a:extLst>
                  <a:ext uri="{FF2B5EF4-FFF2-40B4-BE49-F238E27FC236}">
                    <a16:creationId xmlns:a16="http://schemas.microsoft.com/office/drawing/2014/main" id="{20C4268C-3622-447F-9EE1-DD96DC044FA1}"/>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grpSp>
      <p:grpSp>
        <p:nvGrpSpPr>
          <p:cNvPr id="34" name="Group 33">
            <a:extLst>
              <a:ext uri="{FF2B5EF4-FFF2-40B4-BE49-F238E27FC236}">
                <a16:creationId xmlns:a16="http://schemas.microsoft.com/office/drawing/2014/main" id="{F2E24709-B46D-4EFC-AFAB-6F4227C28F5C}"/>
              </a:ext>
            </a:extLst>
          </p:cNvPr>
          <p:cNvGrpSpPr/>
          <p:nvPr/>
        </p:nvGrpSpPr>
        <p:grpSpPr>
          <a:xfrm flipH="1" flipV="1">
            <a:off x="4572522" y="3012623"/>
            <a:ext cx="371160" cy="371160"/>
            <a:chOff x="490380" y="1113631"/>
            <a:chExt cx="766762" cy="766762"/>
          </a:xfrm>
        </p:grpSpPr>
        <p:sp>
          <p:nvSpPr>
            <p:cNvPr id="35" name="Oval 34">
              <a:extLst>
                <a:ext uri="{FF2B5EF4-FFF2-40B4-BE49-F238E27FC236}">
                  <a16:creationId xmlns:a16="http://schemas.microsoft.com/office/drawing/2014/main" id="{D5252F3C-48C1-47C4-9CA4-32A32B7E090A}"/>
                </a:ext>
              </a:extLst>
            </p:cNvPr>
            <p:cNvSpPr/>
            <p:nvPr/>
          </p:nvSpPr>
          <p:spPr bwMode="auto">
            <a:xfrm>
              <a:off x="490380" y="1113631"/>
              <a:ext cx="766762" cy="76676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36" name="Graphic 12">
              <a:extLst>
                <a:ext uri="{FF2B5EF4-FFF2-40B4-BE49-F238E27FC236}">
                  <a16:creationId xmlns:a16="http://schemas.microsoft.com/office/drawing/2014/main" id="{24BB05B3-A3C2-4AF8-8022-09D6085F91E2}"/>
                </a:ext>
              </a:extLst>
            </p:cNvPr>
            <p:cNvGrpSpPr/>
            <p:nvPr/>
          </p:nvGrpSpPr>
          <p:grpSpPr>
            <a:xfrm flipH="1">
              <a:off x="619660" y="1318684"/>
              <a:ext cx="508202" cy="356656"/>
              <a:chOff x="5753695" y="3190875"/>
              <a:chExt cx="669726" cy="470014"/>
            </a:xfrm>
            <a:solidFill>
              <a:schemeClr val="bg1"/>
            </a:solidFill>
          </p:grpSpPr>
          <p:sp>
            <p:nvSpPr>
              <p:cNvPr id="37" name="Freeform: Shape 36">
                <a:extLst>
                  <a:ext uri="{FF2B5EF4-FFF2-40B4-BE49-F238E27FC236}">
                    <a16:creationId xmlns:a16="http://schemas.microsoft.com/office/drawing/2014/main" id="{C229264F-9D39-47E7-AFCF-B032C08A8EDE}"/>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38" name="Freeform: Shape 37">
                <a:extLst>
                  <a:ext uri="{FF2B5EF4-FFF2-40B4-BE49-F238E27FC236}">
                    <a16:creationId xmlns:a16="http://schemas.microsoft.com/office/drawing/2014/main" id="{1DE9D080-81D6-4DA2-BE2F-1AEA8177F5E8}"/>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grpSp>
      <p:cxnSp>
        <p:nvCxnSpPr>
          <p:cNvPr id="39" name="Straight Connector 38">
            <a:extLst>
              <a:ext uri="{FF2B5EF4-FFF2-40B4-BE49-F238E27FC236}">
                <a16:creationId xmlns:a16="http://schemas.microsoft.com/office/drawing/2014/main" id="{5A876F38-5145-4A0A-8F25-46A84B0E86BC}"/>
              </a:ext>
            </a:extLst>
          </p:cNvPr>
          <p:cNvCxnSpPr>
            <a:cxnSpLocks/>
          </p:cNvCxnSpPr>
          <p:nvPr/>
        </p:nvCxnSpPr>
        <p:spPr>
          <a:xfrm>
            <a:off x="5008563" y="478631"/>
            <a:ext cx="0" cy="3080544"/>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7">
            <a:extLst>
              <a:ext uri="{FF2B5EF4-FFF2-40B4-BE49-F238E27FC236}">
                <a16:creationId xmlns:a16="http://schemas.microsoft.com/office/drawing/2014/main" id="{1AF22914-DEDE-4CF6-8CF2-1803CDF0608E}"/>
              </a:ext>
            </a:extLst>
          </p:cNvPr>
          <p:cNvSpPr txBox="1">
            <a:spLocks/>
          </p:cNvSpPr>
          <p:nvPr/>
        </p:nvSpPr>
        <p:spPr>
          <a:xfrm>
            <a:off x="-1" y="3683000"/>
            <a:ext cx="4943476" cy="2261826"/>
          </a:xfrm>
          <a:prstGeom prst="rect">
            <a:avLst/>
          </a:prstGeom>
          <a:solidFill>
            <a:schemeClr val="tx2"/>
          </a:solidFill>
        </p:spPr>
        <p:txBody>
          <a:bodyPr vert="horz" wrap="square" lIns="594360" tIns="38100" rIns="88900" bIns="38100" rtlCol="0" anchor="ctr">
            <a:noAutofit/>
          </a:bodyPr>
          <a:lstStyle>
            <a:lvl1pPr algn="l" defTabSz="932742" rtl="0" eaLnBrk="1" latinLnBrk="0" hangingPunct="1">
              <a:lnSpc>
                <a:spcPct val="100000"/>
              </a:lnSpc>
              <a:spcBef>
                <a:spcPct val="0"/>
              </a:spcBef>
              <a:buNone/>
              <a:defRPr lang="fr-fr" sz="3600" b="0" kern="1200" cap="none" spc="-50" baseline="0" dirty="0" smtClean="0">
                <a:ln w="3175">
                  <a:noFill/>
                </a:ln>
                <a:solidFill>
                  <a:schemeClr val="tx1"/>
                </a:solidFill>
                <a:effectLst/>
                <a:latin typeface="+mj-lt"/>
                <a:ea typeface="+mn-ea"/>
                <a:cs typeface="Segoe UI" pitchFamily="34" charset="0"/>
              </a:defRPr>
            </a:lvl1pPr>
          </a:lstStyle>
          <a:p>
            <a:pPr algn="l" rtl="0">
              <a:spcBef>
                <a:spcPts val="0"/>
              </a:spcBef>
            </a:pPr>
            <a:r>
              <a:rPr lang="fr-fr" sz="2000" b="0" i="0" u="none" spc="0" baseline="0" dirty="0" err="1">
                <a:solidFill>
                  <a:schemeClr val="bg1"/>
                </a:solidFill>
                <a:cs typeface="Segoe UI"/>
              </a:rPr>
              <a:t>Ecolab</a:t>
            </a:r>
            <a:r>
              <a:rPr lang="fr-fr" sz="2000" b="0" i="0" u="none" spc="0" baseline="0" dirty="0">
                <a:solidFill>
                  <a:schemeClr val="bg1"/>
                </a:solidFill>
                <a:cs typeface="Segoe UI"/>
              </a:rPr>
              <a:t> propose une visualisation attractive à base de réalité mixte avec Dynamics 365 Product </a:t>
            </a:r>
            <a:br>
              <a:rPr lang="fr-fr" sz="2000" b="0" i="0" u="none" spc="0" baseline="0" dirty="0"/>
            </a:br>
            <a:r>
              <a:rPr lang="fr-fr" sz="2000" b="0" i="0" u="none" spc="0" baseline="0" dirty="0" err="1">
                <a:solidFill>
                  <a:schemeClr val="bg1"/>
                </a:solidFill>
                <a:cs typeface="Segoe UI"/>
              </a:rPr>
              <a:t>Visualize</a:t>
            </a:r>
            <a:r>
              <a:rPr lang="fr-fr" sz="2000" b="0" i="0" u="none" spc="0" baseline="0" dirty="0">
                <a:solidFill>
                  <a:schemeClr val="bg1"/>
                </a:solidFill>
                <a:cs typeface="Segoe UI"/>
              </a:rPr>
              <a:t> et Dynamics 365</a:t>
            </a:r>
          </a:p>
        </p:txBody>
      </p:sp>
      <p:grpSp>
        <p:nvGrpSpPr>
          <p:cNvPr id="5" name="Group 4">
            <a:extLst>
              <a:ext uri="{FF2B5EF4-FFF2-40B4-BE49-F238E27FC236}">
                <a16:creationId xmlns:a16="http://schemas.microsoft.com/office/drawing/2014/main" id="{C4A30E03-42C5-45C8-99EC-45A8DBCC1935}"/>
              </a:ext>
            </a:extLst>
          </p:cNvPr>
          <p:cNvGrpSpPr/>
          <p:nvPr/>
        </p:nvGrpSpPr>
        <p:grpSpPr>
          <a:xfrm>
            <a:off x="4996244" y="3683000"/>
            <a:ext cx="6765542" cy="2261826"/>
            <a:chOff x="4996244" y="3683000"/>
            <a:chExt cx="6765542" cy="2261826"/>
          </a:xfrm>
        </p:grpSpPr>
        <p:sp>
          <p:nvSpPr>
            <p:cNvPr id="41" name="Freeform: Shape 40">
              <a:extLst>
                <a:ext uri="{FF2B5EF4-FFF2-40B4-BE49-F238E27FC236}">
                  <a16:creationId xmlns:a16="http://schemas.microsoft.com/office/drawing/2014/main" id="{AD0A2CC0-C251-4D31-B3AD-C4FFC9226299}"/>
                </a:ext>
              </a:extLst>
            </p:cNvPr>
            <p:cNvSpPr/>
            <p:nvPr/>
          </p:nvSpPr>
          <p:spPr bwMode="auto">
            <a:xfrm>
              <a:off x="5073445" y="3683000"/>
              <a:ext cx="6688334" cy="2261826"/>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2" name="Group 1">
              <a:extLst>
                <a:ext uri="{FF2B5EF4-FFF2-40B4-BE49-F238E27FC236}">
                  <a16:creationId xmlns:a16="http://schemas.microsoft.com/office/drawing/2014/main" id="{6E2FFEF6-E81B-4DC0-AA7F-0F7806000C7D}"/>
                </a:ext>
              </a:extLst>
            </p:cNvPr>
            <p:cNvGrpSpPr/>
            <p:nvPr/>
          </p:nvGrpSpPr>
          <p:grpSpPr>
            <a:xfrm>
              <a:off x="4996244" y="3745865"/>
              <a:ext cx="6765542" cy="2113236"/>
              <a:chOff x="4996244" y="3745865"/>
              <a:chExt cx="6765542" cy="2113236"/>
            </a:xfrm>
          </p:grpSpPr>
          <p:sp>
            <p:nvSpPr>
              <p:cNvPr id="42" name="Text Placeholder 8">
                <a:extLst>
                  <a:ext uri="{FF2B5EF4-FFF2-40B4-BE49-F238E27FC236}">
                    <a16:creationId xmlns:a16="http://schemas.microsoft.com/office/drawing/2014/main" id="{E12EC0E2-C801-40D2-8B8F-6F79633AB918}"/>
                  </a:ext>
                </a:extLst>
              </p:cNvPr>
              <p:cNvSpPr txBox="1">
                <a:spLocks/>
              </p:cNvSpPr>
              <p:nvPr/>
            </p:nvSpPr>
            <p:spPr>
              <a:xfrm>
                <a:off x="5286375" y="3745865"/>
                <a:ext cx="6475411" cy="2113236"/>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Clr>
                    <a:schemeClr val="tx2"/>
                  </a:buClr>
                  <a:buSzPct val="100000"/>
                  <a:buNone/>
                </a:pPr>
                <a:r>
                  <a:rPr lang="fr-fr" sz="1350" b="0" i="0" u="none" baseline="0" dirty="0" err="1">
                    <a:cs typeface="Segoe UI"/>
                  </a:rPr>
                  <a:t>Ecolab</a:t>
                </a:r>
                <a:r>
                  <a:rPr lang="fr-fr" sz="1350" b="0" i="0" u="none" baseline="0" dirty="0">
                    <a:cs typeface="Segoe UI"/>
                  </a:rPr>
                  <a:t>, leader mondial des technologies et services dans les domaines de l</a:t>
                </a:r>
                <a:r>
                  <a:rPr lang="fr-FR" sz="1350" b="0" i="0" u="none" baseline="0" dirty="0">
                    <a:cs typeface="Segoe UI"/>
                  </a:rPr>
                  <a:t>’</a:t>
                </a:r>
                <a:r>
                  <a:rPr lang="fr-fr" sz="1350" b="0" i="0" u="none" baseline="0" dirty="0">
                    <a:cs typeface="Segoe UI"/>
                  </a:rPr>
                  <a:t>eau, </a:t>
                </a:r>
                <a:br>
                  <a:rPr lang="fr-fr" sz="1350" b="0" i="0" u="none" baseline="0" dirty="0"/>
                </a:br>
                <a:r>
                  <a:rPr lang="fr-fr" sz="1350" b="0" i="0" u="none" baseline="0" dirty="0">
                    <a:cs typeface="Segoe UI"/>
                  </a:rPr>
                  <a:t>de l</a:t>
                </a:r>
                <a:r>
                  <a:rPr lang="fr-FR" sz="1350" b="0" i="0" u="none" baseline="0" dirty="0">
                    <a:cs typeface="Segoe UI"/>
                  </a:rPr>
                  <a:t>’</a:t>
                </a:r>
                <a:r>
                  <a:rPr lang="fr-fr" sz="1350" b="0" i="0" u="none" baseline="0" dirty="0">
                    <a:cs typeface="Segoe UI"/>
                  </a:rPr>
                  <a:t>hygiène et de l</a:t>
                </a:r>
                <a:r>
                  <a:rPr lang="fr-FR" sz="1350" b="0" i="0" u="none" baseline="0" dirty="0">
                    <a:cs typeface="Segoe UI"/>
                  </a:rPr>
                  <a:t>’</a:t>
                </a:r>
                <a:r>
                  <a:rPr lang="fr-fr" sz="1350" b="0" i="0" u="none" baseline="0" dirty="0">
                    <a:cs typeface="Segoe UI"/>
                  </a:rPr>
                  <a:t>énergie, vend certaines des solutions les plus avancées au monde. En conséquence, son cycle de vente est long et complexe, et s</a:t>
                </a:r>
                <a:r>
                  <a:rPr lang="fr-FR" sz="1350" b="0" i="0" u="none" baseline="0" dirty="0">
                    <a:cs typeface="Segoe UI"/>
                  </a:rPr>
                  <a:t>’</a:t>
                </a:r>
                <a:r>
                  <a:rPr lang="fr-fr" sz="1350" b="0" i="0" u="none" baseline="0" dirty="0">
                    <a:cs typeface="Segoe UI"/>
                  </a:rPr>
                  <a:t>étend parfois jusqu</a:t>
                </a:r>
                <a:r>
                  <a:rPr lang="fr-FR" sz="1350" b="0" i="0" u="none" baseline="0" dirty="0">
                    <a:cs typeface="Segoe UI"/>
                  </a:rPr>
                  <a:t>’</a:t>
                </a:r>
                <a:r>
                  <a:rPr lang="fr-fr" sz="1350" b="0" i="0" u="none" baseline="0" dirty="0">
                    <a:cs typeface="Segoe UI"/>
                  </a:rPr>
                  <a:t>à 18 mois.</a:t>
                </a:r>
                <a:r>
                  <a:rPr lang="fr-fr" sz="1350" dirty="0">
                    <a:cs typeface="Segoe UI"/>
                  </a:rPr>
                  <a:t> </a:t>
                </a:r>
                <a:endParaRPr lang="fr-fr" sz="1350" b="0" i="0" u="none" baseline="0" dirty="0"/>
              </a:p>
              <a:p>
                <a:pPr marL="0" indent="0" algn="l" rtl="0">
                  <a:spcBef>
                    <a:spcPts val="0"/>
                  </a:spcBef>
                  <a:spcAft>
                    <a:spcPts val="600"/>
                  </a:spcAft>
                  <a:buClr>
                    <a:schemeClr val="tx2"/>
                  </a:buClr>
                  <a:buSzPct val="100000"/>
                  <a:buNone/>
                </a:pPr>
                <a:r>
                  <a:rPr lang="fr-fr" sz="1350" b="0" i="0" u="none" baseline="0" dirty="0">
                    <a:cs typeface="Segoe UI"/>
                  </a:rPr>
                  <a:t>Dynamics 365 raccourcit ce cycle en offrant une vision tangible et attractive. Les vendeurs peuvent ainsi abandonner les brochures statiques et donner vie à leur offre en intégrant la réalité mixte à la solution.</a:t>
                </a:r>
              </a:p>
              <a:p>
                <a:pPr marL="0" indent="0">
                  <a:spcBef>
                    <a:spcPts val="0"/>
                  </a:spcBef>
                  <a:spcAft>
                    <a:spcPts val="600"/>
                  </a:spcAft>
                  <a:buClr>
                    <a:schemeClr val="tx2"/>
                  </a:buClr>
                  <a:buSzPct val="100000"/>
                  <a:buNone/>
                </a:pPr>
                <a:r>
                  <a:rPr lang="fr-fr" sz="1350" b="0" i="0" u="none" baseline="0" dirty="0">
                    <a:cs typeface="Segoe UI"/>
                  </a:rPr>
                  <a:t>Avec Dynamics 365, </a:t>
                </a:r>
                <a:r>
                  <a:rPr lang="fr-fr" sz="1350" b="0" i="0" u="none" baseline="0" dirty="0" err="1">
                    <a:cs typeface="Segoe UI"/>
                  </a:rPr>
                  <a:t>Ecolab</a:t>
                </a:r>
                <a:r>
                  <a:rPr lang="fr-fr" sz="1350" b="0" i="0" u="none" baseline="0" dirty="0">
                    <a:cs typeface="Segoe UI"/>
                  </a:rPr>
                  <a:t> établit des relations de confiance et conclut plus</a:t>
                </a:r>
                <a:r>
                  <a:rPr lang="th-TH" sz="1350" b="0" i="0" u="none" baseline="0" dirty="0"/>
                  <a:t> </a:t>
                </a:r>
                <a:r>
                  <a:rPr lang="fr-fr" sz="1350" b="0" i="0" u="none" baseline="0" dirty="0">
                    <a:cs typeface="Segoe UI"/>
                  </a:rPr>
                  <a:t>rapidement des contrats grâce à des solutions s</a:t>
                </a:r>
                <a:r>
                  <a:rPr lang="fr-FR" sz="1350" b="0" i="0" u="none" baseline="0" dirty="0">
                    <a:cs typeface="Segoe UI"/>
                  </a:rPr>
                  <a:t>’</a:t>
                </a:r>
                <a:r>
                  <a:rPr lang="fr-fr" sz="1350" b="0" i="0" u="none" baseline="0" dirty="0">
                    <a:cs typeface="Segoe UI"/>
                  </a:rPr>
                  <a:t>appuyant sur la réalité mixte pour présenter et personnaliser les produits dans l</a:t>
                </a:r>
                <a:r>
                  <a:rPr lang="fr-FR" sz="1350" b="0" i="0" u="none" baseline="0" dirty="0">
                    <a:cs typeface="Segoe UI"/>
                  </a:rPr>
                  <a:t>’</a:t>
                </a:r>
                <a:r>
                  <a:rPr lang="fr-fr" sz="1350" b="0" i="0" u="none" baseline="0" dirty="0">
                    <a:cs typeface="Segoe UI"/>
                  </a:rPr>
                  <a:t>environnement client.</a:t>
                </a:r>
                <a:r>
                  <a:rPr lang="fr-fr" sz="1350" dirty="0">
                    <a:cs typeface="Segoe UI"/>
                  </a:rPr>
                  <a:t> </a:t>
                </a:r>
                <a:endParaRPr lang="fr-fr" sz="1350" b="0" i="0" u="none" baseline="0" dirty="0"/>
              </a:p>
            </p:txBody>
          </p:sp>
          <p:grpSp>
            <p:nvGrpSpPr>
              <p:cNvPr id="43" name="Group 42">
                <a:extLst>
                  <a:ext uri="{FF2B5EF4-FFF2-40B4-BE49-F238E27FC236}">
                    <a16:creationId xmlns:a16="http://schemas.microsoft.com/office/drawing/2014/main" id="{A2D41F86-DFB5-42C4-B68C-0D02A4F178EB}"/>
                  </a:ext>
                </a:extLst>
              </p:cNvPr>
              <p:cNvGrpSpPr/>
              <p:nvPr/>
            </p:nvGrpSpPr>
            <p:grpSpPr>
              <a:xfrm>
                <a:off x="4996244" y="3768725"/>
                <a:ext cx="154400" cy="438150"/>
                <a:chOff x="4996244" y="4029075"/>
                <a:chExt cx="154400" cy="438150"/>
              </a:xfrm>
            </p:grpSpPr>
            <p:sp>
              <p:nvSpPr>
                <p:cNvPr id="44" name="Oval 43">
                  <a:extLst>
                    <a:ext uri="{FF2B5EF4-FFF2-40B4-BE49-F238E27FC236}">
                      <a16:creationId xmlns:a16="http://schemas.microsoft.com/office/drawing/2014/main" id="{2666E27C-CE0C-42F0-A2B1-CC7A59EC2FD2}"/>
                    </a:ext>
                  </a:extLst>
                </p:cNvPr>
                <p:cNvSpPr/>
                <p:nvPr/>
              </p:nvSpPr>
              <p:spPr bwMode="auto">
                <a:xfrm>
                  <a:off x="4996244" y="4170950"/>
                  <a:ext cx="154400" cy="154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B8DCCC4B-6D7B-4E45-BC70-72FC4540B074}"/>
                    </a:ext>
                  </a:extLst>
                </p:cNvPr>
                <p:cNvCxnSpPr>
                  <a:cxnSpLocks/>
                </p:cNvCxnSpPr>
                <p:nvPr/>
              </p:nvCxnSpPr>
              <p:spPr>
                <a:xfrm>
                  <a:off x="5073445" y="4029075"/>
                  <a:ext cx="0" cy="43815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98BA20D6-D68A-4D61-8856-99DA7EA5EDED}"/>
                  </a:ext>
                </a:extLst>
              </p:cNvPr>
              <p:cNvGrpSpPr/>
              <p:nvPr/>
            </p:nvGrpSpPr>
            <p:grpSpPr>
              <a:xfrm>
                <a:off x="4996244" y="4623832"/>
                <a:ext cx="154400" cy="438150"/>
                <a:chOff x="4996244" y="4143375"/>
                <a:chExt cx="154400" cy="438150"/>
              </a:xfrm>
            </p:grpSpPr>
            <p:sp>
              <p:nvSpPr>
                <p:cNvPr id="47" name="Oval 46">
                  <a:extLst>
                    <a:ext uri="{FF2B5EF4-FFF2-40B4-BE49-F238E27FC236}">
                      <a16:creationId xmlns:a16="http://schemas.microsoft.com/office/drawing/2014/main" id="{CB0E7817-64DF-4187-A804-E7138352E661}"/>
                    </a:ext>
                  </a:extLst>
                </p:cNvPr>
                <p:cNvSpPr/>
                <p:nvPr/>
              </p:nvSpPr>
              <p:spPr bwMode="auto">
                <a:xfrm>
                  <a:off x="4996244" y="4285250"/>
                  <a:ext cx="154400" cy="154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cxnSp>
              <p:nvCxnSpPr>
                <p:cNvPr id="48" name="Straight Connector 47">
                  <a:extLst>
                    <a:ext uri="{FF2B5EF4-FFF2-40B4-BE49-F238E27FC236}">
                      <a16:creationId xmlns:a16="http://schemas.microsoft.com/office/drawing/2014/main" id="{B3581990-DE68-48DC-BC7A-4EA6F5107034}"/>
                    </a:ext>
                  </a:extLst>
                </p:cNvPr>
                <p:cNvCxnSpPr>
                  <a:cxnSpLocks/>
                </p:cNvCxnSpPr>
                <p:nvPr/>
              </p:nvCxnSpPr>
              <p:spPr>
                <a:xfrm>
                  <a:off x="5073445" y="4143375"/>
                  <a:ext cx="0" cy="43815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32DB1B41-1B6E-4F3F-BE3A-68EDEA61F5D2}"/>
                  </a:ext>
                </a:extLst>
              </p:cNvPr>
              <p:cNvGrpSpPr/>
              <p:nvPr/>
            </p:nvGrpSpPr>
            <p:grpSpPr>
              <a:xfrm>
                <a:off x="4996244" y="5364638"/>
                <a:ext cx="154400" cy="438150"/>
                <a:chOff x="4996244" y="4191000"/>
                <a:chExt cx="154400" cy="438150"/>
              </a:xfrm>
            </p:grpSpPr>
            <p:sp>
              <p:nvSpPr>
                <p:cNvPr id="50" name="Oval 49">
                  <a:extLst>
                    <a:ext uri="{FF2B5EF4-FFF2-40B4-BE49-F238E27FC236}">
                      <a16:creationId xmlns:a16="http://schemas.microsoft.com/office/drawing/2014/main" id="{FD1094DC-ED5F-4A95-991D-0C15E3CB2D2E}"/>
                    </a:ext>
                  </a:extLst>
                </p:cNvPr>
                <p:cNvSpPr/>
                <p:nvPr/>
              </p:nvSpPr>
              <p:spPr bwMode="auto">
                <a:xfrm>
                  <a:off x="4996244" y="4323350"/>
                  <a:ext cx="154400" cy="154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1072C963-5A45-4AF0-83BC-E402A0CE0AAC}"/>
                    </a:ext>
                  </a:extLst>
                </p:cNvPr>
                <p:cNvCxnSpPr>
                  <a:cxnSpLocks/>
                </p:cNvCxnSpPr>
                <p:nvPr/>
              </p:nvCxnSpPr>
              <p:spPr>
                <a:xfrm>
                  <a:off x="5073445" y="4191000"/>
                  <a:ext cx="0" cy="43815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53" name="Text Placeholder 11">
            <a:extLst>
              <a:ext uri="{FF2B5EF4-FFF2-40B4-BE49-F238E27FC236}">
                <a16:creationId xmlns:a16="http://schemas.microsoft.com/office/drawing/2014/main" id="{EDDB9C3B-92E9-4F10-9999-9E02581EA469}"/>
              </a:ext>
            </a:extLst>
          </p:cNvPr>
          <p:cNvSpPr txBox="1">
            <a:spLocks/>
          </p:cNvSpPr>
          <p:nvPr/>
        </p:nvSpPr>
        <p:spPr>
          <a:xfrm>
            <a:off x="2788138"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Produits et services</a:t>
            </a:r>
            <a:endParaRPr lang="fr-fr" sz="900" dirty="0">
              <a:cs typeface="Segoe UI"/>
            </a:endParaRPr>
          </a:p>
          <a:p>
            <a:pPr marL="0" indent="0" algn="l" rtl="0">
              <a:spcBef>
                <a:spcPts val="100"/>
              </a:spcBef>
              <a:spcAft>
                <a:spcPts val="200"/>
              </a:spcAft>
              <a:buNone/>
            </a:pPr>
            <a:r>
              <a:rPr lang="fr-fr" sz="900" b="0" i="0" u="none" baseline="0" dirty="0">
                <a:cs typeface="Segoe UI"/>
              </a:rPr>
              <a:t>Dynamics 365 Sales</a:t>
            </a:r>
          </a:p>
          <a:p>
            <a:pPr marL="0" indent="0" algn="l" rtl="0">
              <a:spcBef>
                <a:spcPts val="100"/>
              </a:spcBef>
              <a:spcAft>
                <a:spcPts val="200"/>
              </a:spcAft>
              <a:buNone/>
            </a:pPr>
            <a:r>
              <a:rPr lang="fr-fr" sz="900" b="0" i="0" u="none" baseline="0" dirty="0">
                <a:cs typeface="Segoe UI"/>
              </a:rPr>
              <a:t>Dynamics 365 Product </a:t>
            </a:r>
            <a:r>
              <a:rPr lang="fr-fr" sz="900" b="0" i="0" u="none" baseline="0" dirty="0" err="1">
                <a:cs typeface="Segoe UI"/>
              </a:rPr>
              <a:t>Visualize</a:t>
            </a:r>
          </a:p>
          <a:p>
            <a:pPr marL="0" indent="0">
              <a:spcBef>
                <a:spcPts val="100"/>
              </a:spcBef>
              <a:spcAft>
                <a:spcPts val="200"/>
              </a:spcAft>
              <a:buNone/>
            </a:pPr>
            <a:r>
              <a:rPr lang="fr-fr" sz="900" b="0" i="0" u="none" baseline="0" dirty="0">
                <a:cs typeface="Segoe UI"/>
              </a:rPr>
              <a:t>Teams</a:t>
            </a:r>
            <a:r>
              <a:rPr lang="fr-fr" sz="900" dirty="0">
                <a:cs typeface="Segoe UI"/>
              </a:rPr>
              <a:t> </a:t>
            </a:r>
            <a:endParaRPr lang="fr-fr" sz="900" b="0" i="0" u="none" baseline="0" dirty="0"/>
          </a:p>
        </p:txBody>
      </p:sp>
      <p:sp>
        <p:nvSpPr>
          <p:cNvPr id="54" name="Text Placeholder 11">
            <a:extLst>
              <a:ext uri="{FF2B5EF4-FFF2-40B4-BE49-F238E27FC236}">
                <a16:creationId xmlns:a16="http://schemas.microsoft.com/office/drawing/2014/main" id="{A9D7E223-3B70-4D02-8ECB-8A59E87F7A7C}"/>
              </a:ext>
            </a:extLst>
          </p:cNvPr>
          <p:cNvSpPr txBox="1">
            <a:spLocks/>
          </p:cNvSpPr>
          <p:nvPr/>
        </p:nvSpPr>
        <p:spPr>
          <a:xfrm>
            <a:off x="4779502"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Taille de l</a:t>
            </a:r>
            <a:r>
              <a:rPr lang="fr-FR" sz="900" b="1" i="0" u="none" baseline="0" dirty="0">
                <a:latin typeface="Segoe UI Semibold"/>
                <a:cs typeface="Segoe UI"/>
              </a:rPr>
              <a:t>’</a:t>
            </a:r>
            <a:r>
              <a:rPr lang="fr-fr" sz="900" b="1" i="0" u="none" baseline="0" dirty="0">
                <a:latin typeface="Segoe UI Semibold"/>
                <a:cs typeface="Segoe UI"/>
              </a:rPr>
              <a:t>organisation</a:t>
            </a:r>
            <a:endParaRPr lang="fr-fr" sz="900" dirty="0">
              <a:cs typeface="Segoe UI"/>
            </a:endParaRPr>
          </a:p>
          <a:p>
            <a:pPr marL="0" indent="0" algn="l" rtl="0">
              <a:spcAft>
                <a:spcPts val="200"/>
              </a:spcAft>
              <a:buNone/>
            </a:pPr>
            <a:r>
              <a:rPr lang="fr-fr" sz="900" b="0" i="0" u="none" baseline="0" dirty="0">
                <a:cs typeface="Segoe UI"/>
              </a:rPr>
              <a:t>Plus de 49 000 employés</a:t>
            </a:r>
          </a:p>
        </p:txBody>
      </p:sp>
      <p:sp>
        <p:nvSpPr>
          <p:cNvPr id="55" name="Text Placeholder 11">
            <a:extLst>
              <a:ext uri="{FF2B5EF4-FFF2-40B4-BE49-F238E27FC236}">
                <a16:creationId xmlns:a16="http://schemas.microsoft.com/office/drawing/2014/main" id="{665B2A2D-8878-42E2-A310-44EC272E761F}"/>
              </a:ext>
            </a:extLst>
          </p:cNvPr>
          <p:cNvSpPr txBox="1">
            <a:spLocks/>
          </p:cNvSpPr>
          <p:nvPr/>
        </p:nvSpPr>
        <p:spPr>
          <a:xfrm>
            <a:off x="6770866"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Secteur d</a:t>
            </a:r>
            <a:r>
              <a:rPr lang="fr-FR" sz="900" b="1" i="0" u="none" baseline="0" dirty="0">
                <a:latin typeface="Segoe UI Semibold"/>
                <a:cs typeface="Segoe UI"/>
              </a:rPr>
              <a:t>’</a:t>
            </a:r>
            <a:r>
              <a:rPr lang="fr-fr" sz="900" b="1" i="0" u="none" baseline="0" dirty="0">
                <a:latin typeface="Segoe UI Semibold"/>
                <a:cs typeface="Segoe UI"/>
              </a:rPr>
              <a:t>activité</a:t>
            </a:r>
            <a:endParaRPr lang="fr-fr" sz="900" dirty="0">
              <a:cs typeface="Segoe UI"/>
            </a:endParaRPr>
          </a:p>
          <a:p>
            <a:pPr marL="0" indent="0" algn="l" rtl="0">
              <a:spcAft>
                <a:spcPts val="200"/>
              </a:spcAft>
              <a:buNone/>
            </a:pPr>
            <a:r>
              <a:rPr lang="fr-fr" sz="900" b="0" i="0" u="none" baseline="0" dirty="0">
                <a:cs typeface="Segoe UI"/>
              </a:rPr>
              <a:t>Technologies relatives à l</a:t>
            </a:r>
            <a:r>
              <a:rPr lang="fr-FR" sz="900" b="0" i="0" u="none" baseline="0" dirty="0">
                <a:cs typeface="Segoe UI"/>
              </a:rPr>
              <a:t>’</a:t>
            </a:r>
            <a:r>
              <a:rPr lang="fr-fr" sz="900" b="0" i="0" u="none" baseline="0" dirty="0">
                <a:cs typeface="Segoe UI"/>
              </a:rPr>
              <a:t>eau, l</a:t>
            </a:r>
            <a:r>
              <a:rPr lang="fr-FR" sz="900" b="0" i="0" u="none" baseline="0" dirty="0">
                <a:cs typeface="Segoe UI"/>
              </a:rPr>
              <a:t>’</a:t>
            </a:r>
            <a:r>
              <a:rPr lang="fr-fr" sz="900" b="0" i="0" u="none" baseline="0" dirty="0">
                <a:cs typeface="Segoe UI"/>
              </a:rPr>
              <a:t>énergie et l</a:t>
            </a:r>
            <a:r>
              <a:rPr lang="fr-FR" sz="900" b="0" i="0" u="none" baseline="0" dirty="0">
                <a:cs typeface="Segoe UI"/>
              </a:rPr>
              <a:t>’</a:t>
            </a:r>
            <a:r>
              <a:rPr lang="fr-fr" sz="900" b="0" i="0" u="none" baseline="0" dirty="0">
                <a:cs typeface="Segoe UI"/>
              </a:rPr>
              <a:t>hygiène</a:t>
            </a:r>
          </a:p>
        </p:txBody>
      </p:sp>
      <p:sp>
        <p:nvSpPr>
          <p:cNvPr id="56" name="Text Placeholder 11">
            <a:extLst>
              <a:ext uri="{FF2B5EF4-FFF2-40B4-BE49-F238E27FC236}">
                <a16:creationId xmlns:a16="http://schemas.microsoft.com/office/drawing/2014/main" id="{52F27113-F6EF-456F-9A2D-3A74277D0C65}"/>
              </a:ext>
            </a:extLst>
          </p:cNvPr>
          <p:cNvSpPr txBox="1">
            <a:spLocks/>
          </p:cNvSpPr>
          <p:nvPr/>
        </p:nvSpPr>
        <p:spPr>
          <a:xfrm>
            <a:off x="8762230"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Pays</a:t>
            </a:r>
            <a:endParaRPr lang="fr-fr" sz="900" dirty="0">
              <a:cs typeface="Segoe UI"/>
            </a:endParaRPr>
          </a:p>
          <a:p>
            <a:pPr marL="0" indent="0" algn="l" rtl="0">
              <a:spcAft>
                <a:spcPts val="200"/>
              </a:spcAft>
              <a:buNone/>
            </a:pPr>
            <a:r>
              <a:rPr lang="fr-fr" sz="900" b="0" i="0" u="none" baseline="0" dirty="0">
                <a:cs typeface="Segoe UI"/>
              </a:rPr>
              <a:t>États-Unis</a:t>
            </a:r>
          </a:p>
        </p:txBody>
      </p:sp>
      <p:cxnSp>
        <p:nvCxnSpPr>
          <p:cNvPr id="4" name="Straight Connector 3">
            <a:extLst>
              <a:ext uri="{FF2B5EF4-FFF2-40B4-BE49-F238E27FC236}">
                <a16:creationId xmlns:a16="http://schemas.microsoft.com/office/drawing/2014/main" id="{AEDE99D3-E288-4B6E-8D6B-C13C210F155F}"/>
              </a:ext>
            </a:extLst>
          </p:cNvPr>
          <p:cNvCxnSpPr>
            <a:cxnSpLocks/>
          </p:cNvCxnSpPr>
          <p:nvPr/>
        </p:nvCxnSpPr>
        <p:spPr>
          <a:xfrm>
            <a:off x="4670195"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A627829-702B-4E1E-9DEA-D50EA57F0F5D}"/>
              </a:ext>
            </a:extLst>
          </p:cNvPr>
          <p:cNvCxnSpPr>
            <a:cxnSpLocks/>
          </p:cNvCxnSpPr>
          <p:nvPr/>
        </p:nvCxnSpPr>
        <p:spPr>
          <a:xfrm>
            <a:off x="6661559"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7954166-E70E-453B-A55E-AE18075BF26F}"/>
              </a:ext>
            </a:extLst>
          </p:cNvPr>
          <p:cNvCxnSpPr>
            <a:cxnSpLocks/>
          </p:cNvCxnSpPr>
          <p:nvPr/>
        </p:nvCxnSpPr>
        <p:spPr>
          <a:xfrm>
            <a:off x="8652923"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3D9A4239-1F2A-4056-9386-243743B01538}"/>
              </a:ext>
            </a:extLst>
          </p:cNvPr>
          <p:cNvSpPr/>
          <p:nvPr/>
        </p:nvSpPr>
        <p:spPr bwMode="auto">
          <a:xfrm rot="10800000" flipH="1" flipV="1">
            <a:off x="11043858" y="5852770"/>
            <a:ext cx="698990" cy="6989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DBABCB9F-0183-4CC7-8003-2B826720C4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9037" y="5927949"/>
            <a:ext cx="548632" cy="548632"/>
          </a:xfrm>
          <a:prstGeom prst="rect">
            <a:avLst/>
          </a:prstGeom>
        </p:spPr>
      </p:pic>
      <p:pic>
        <p:nvPicPr>
          <p:cNvPr id="64" name="Picture 4" descr="Ecolab Logo PNG Transparent - PngPix">
            <a:extLst>
              <a:ext uri="{FF2B5EF4-FFF2-40B4-BE49-F238E27FC236}">
                <a16:creationId xmlns:a16="http://schemas.microsoft.com/office/drawing/2014/main" id="{D1F6615B-66FE-4ED5-BFDD-F5285ED94EB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112" t="17146" r="4112" b="14701"/>
          <a:stretch/>
        </p:blipFill>
        <p:spPr bwMode="auto">
          <a:xfrm>
            <a:off x="584200" y="6202265"/>
            <a:ext cx="1926771" cy="367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617556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08CC96D0-EF59-4D87-8777-5895B0B4D8A4}"/>
              </a:ext>
            </a:extLst>
          </p:cNvPr>
          <p:cNvPicPr>
            <a:picLocks noChangeAspect="1"/>
          </p:cNvPicPr>
          <p:nvPr/>
        </p:nvPicPr>
        <p:blipFill rotWithShape="1">
          <a:blip r:embed="rId2">
            <a:extLst>
              <a:ext uri="{28A0092B-C50C-407E-A947-70E740481C1C}">
                <a14:useLocalDpi xmlns:a14="http://schemas.microsoft.com/office/drawing/2010/main" val="0"/>
              </a:ext>
            </a:extLst>
          </a:blip>
          <a:srcRect l="558" t="14233" r="11205" b="40945"/>
          <a:stretch/>
        </p:blipFill>
        <p:spPr>
          <a:xfrm>
            <a:off x="5073445" y="478631"/>
            <a:ext cx="6688342" cy="3080544"/>
          </a:xfrm>
          <a:custGeom>
            <a:avLst/>
            <a:gdLst>
              <a:gd name="connsiteX0" fmla="*/ 0 w 6688342"/>
              <a:gd name="connsiteY0" fmla="*/ 0 h 3080544"/>
              <a:gd name="connsiteX1" fmla="*/ 6688342 w 6688342"/>
              <a:gd name="connsiteY1" fmla="*/ 0 h 3080544"/>
              <a:gd name="connsiteX2" fmla="*/ 6688342 w 6688342"/>
              <a:gd name="connsiteY2" fmla="*/ 3080544 h 3080544"/>
              <a:gd name="connsiteX3" fmla="*/ 0 w 6688342"/>
              <a:gd name="connsiteY3" fmla="*/ 3080544 h 3080544"/>
            </a:gdLst>
            <a:ahLst/>
            <a:cxnLst>
              <a:cxn ang="0">
                <a:pos x="connsiteX0" y="connsiteY0"/>
              </a:cxn>
              <a:cxn ang="0">
                <a:pos x="connsiteX1" y="connsiteY1"/>
              </a:cxn>
              <a:cxn ang="0">
                <a:pos x="connsiteX2" y="connsiteY2"/>
              </a:cxn>
              <a:cxn ang="0">
                <a:pos x="connsiteX3" y="connsiteY3"/>
              </a:cxn>
            </a:cxnLst>
            <a:rect l="l" t="t" r="r" b="b"/>
            <a:pathLst>
              <a:path w="6688342" h="3080544">
                <a:moveTo>
                  <a:pt x="0" y="0"/>
                </a:moveTo>
                <a:lnTo>
                  <a:pt x="6688342" y="0"/>
                </a:lnTo>
                <a:lnTo>
                  <a:pt x="6688342" y="3080544"/>
                </a:lnTo>
                <a:lnTo>
                  <a:pt x="0" y="3080544"/>
                </a:lnTo>
                <a:close/>
              </a:path>
            </a:pathLst>
          </a:custGeom>
        </p:spPr>
      </p:pic>
      <p:sp>
        <p:nvSpPr>
          <p:cNvPr id="18" name="Freeform: Shape 17">
            <a:extLst>
              <a:ext uri="{FF2B5EF4-FFF2-40B4-BE49-F238E27FC236}">
                <a16:creationId xmlns:a16="http://schemas.microsoft.com/office/drawing/2014/main" id="{3A8BBCB7-5290-4DA6-AFA8-E86BEC454D13}"/>
              </a:ext>
            </a:extLst>
          </p:cNvPr>
          <p:cNvSpPr/>
          <p:nvPr/>
        </p:nvSpPr>
        <p:spPr bwMode="auto">
          <a:xfrm flipH="1" flipV="1">
            <a:off x="-1" y="3340555"/>
            <a:ext cx="4771769" cy="218620"/>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sp>
        <p:nvSpPr>
          <p:cNvPr id="19" name="Freeform: Shape 18">
            <a:extLst>
              <a:ext uri="{FF2B5EF4-FFF2-40B4-BE49-F238E27FC236}">
                <a16:creationId xmlns:a16="http://schemas.microsoft.com/office/drawing/2014/main" id="{6F1F659D-965F-48C2-B3F8-D38E1572F905}"/>
              </a:ext>
            </a:extLst>
          </p:cNvPr>
          <p:cNvSpPr/>
          <p:nvPr/>
        </p:nvSpPr>
        <p:spPr bwMode="auto">
          <a:xfrm>
            <a:off x="584201" y="1138609"/>
            <a:ext cx="4422773" cy="2358653"/>
          </a:xfrm>
          <a:custGeom>
            <a:avLst/>
            <a:gdLst>
              <a:gd name="connsiteX0" fmla="*/ 0 w 12191998"/>
              <a:gd name="connsiteY0" fmla="*/ 0 h 1691640"/>
              <a:gd name="connsiteX1" fmla="*/ 12191998 w 12191998"/>
              <a:gd name="connsiteY1" fmla="*/ 0 h 1691640"/>
              <a:gd name="connsiteX2" fmla="*/ 12191998 w 12191998"/>
              <a:gd name="connsiteY2" fmla="*/ 1691640 h 1691640"/>
              <a:gd name="connsiteX3" fmla="*/ 0 w 12191998"/>
              <a:gd name="connsiteY3" fmla="*/ 1691640 h 1691640"/>
              <a:gd name="connsiteX4" fmla="*/ 0 w 12191998"/>
              <a:gd name="connsiteY4" fmla="*/ 0 h 1691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98" h="1691640">
                <a:moveTo>
                  <a:pt x="0" y="0"/>
                </a:moveTo>
                <a:lnTo>
                  <a:pt x="12191998" y="0"/>
                </a:lnTo>
                <a:lnTo>
                  <a:pt x="12191998" y="1691640"/>
                </a:lnTo>
                <a:lnTo>
                  <a:pt x="0" y="1691640"/>
                </a:lnTo>
                <a:lnTo>
                  <a:pt x="0" y="0"/>
                </a:ln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l" rtl="0">
              <a:defRPr/>
            </a:pPr>
            <a:r>
              <a:rPr lang="fr-fr" sz="1800" b="0" i="1" u="none" baseline="0" dirty="0">
                <a:solidFill>
                  <a:schemeClr val="tx1"/>
                </a:solidFill>
              </a:rPr>
              <a:t>En moins de deux ans, l</a:t>
            </a:r>
            <a:r>
              <a:rPr lang="fr-FR" sz="1800" b="0" i="1" u="none" baseline="0" dirty="0">
                <a:solidFill>
                  <a:schemeClr val="tx1"/>
                </a:solidFill>
              </a:rPr>
              <a:t>’</a:t>
            </a:r>
            <a:r>
              <a:rPr lang="fr-fr" sz="1800" b="0" i="1" u="none" baseline="0" dirty="0">
                <a:solidFill>
                  <a:schemeClr val="tx1"/>
                </a:solidFill>
              </a:rPr>
              <a:t>équipe commerciale a mis en place un pipeline basé sur les ventes d</a:t>
            </a:r>
            <a:r>
              <a:rPr lang="fr-FR" sz="1800" b="0" i="1" u="none" baseline="0" dirty="0">
                <a:solidFill>
                  <a:schemeClr val="tx1"/>
                </a:solidFill>
              </a:rPr>
              <a:t>’</a:t>
            </a:r>
            <a:r>
              <a:rPr lang="fr-fr" sz="1800" b="0" i="1" u="none" baseline="0" dirty="0">
                <a:solidFill>
                  <a:schemeClr val="tx1"/>
                </a:solidFill>
              </a:rPr>
              <a:t>une valeur d</a:t>
            </a:r>
            <a:r>
              <a:rPr lang="fr-FR" sz="1800" b="0" i="1" u="none" baseline="0" dirty="0">
                <a:solidFill>
                  <a:schemeClr val="tx1"/>
                </a:solidFill>
              </a:rPr>
              <a:t>’</a:t>
            </a:r>
            <a:r>
              <a:rPr lang="fr-fr" sz="1800" b="0" i="1" u="none" baseline="0" dirty="0">
                <a:solidFill>
                  <a:schemeClr val="tx1"/>
                </a:solidFill>
              </a:rPr>
              <a:t>environ 2 milliards </a:t>
            </a:r>
            <a:br>
              <a:rPr lang="fr-fr" sz="1800" b="0" i="1" u="none" baseline="0" dirty="0">
                <a:solidFill>
                  <a:schemeClr val="tx1"/>
                </a:solidFill>
              </a:rPr>
            </a:br>
            <a:r>
              <a:rPr lang="fr-fr" sz="1800" b="0" i="1" u="none" baseline="0" dirty="0">
                <a:solidFill>
                  <a:schemeClr val="tx1"/>
                </a:solidFill>
              </a:rPr>
              <a:t>de dollars, et a amélioré ses processus de vente pour conclure de nombreux contrats.</a:t>
            </a:r>
            <a:endParaRPr lang="fr-fr" sz="1800" b="0" i="1" u="none" baseline="0" dirty="0">
              <a:solidFill>
                <a:schemeClr val="tx1"/>
              </a:solidFill>
              <a:cs typeface="Segoe UI"/>
            </a:endParaRPr>
          </a:p>
          <a:p>
            <a:pPr lvl="0" algn="l" rtl="0">
              <a:spcBef>
                <a:spcPts val="600"/>
              </a:spcBef>
              <a:defRPr/>
            </a:pPr>
            <a:r>
              <a:rPr lang="fr-fr" sz="2000" b="0" i="0" u="none" baseline="0" dirty="0" err="1">
                <a:solidFill>
                  <a:schemeClr val="tx2"/>
                </a:solidFill>
                <a:latin typeface="+mj-lt"/>
              </a:rPr>
              <a:t>Nitesh</a:t>
            </a:r>
            <a:r>
              <a:rPr lang="fr-fr" sz="2000" b="0" i="0" u="none" baseline="0" dirty="0">
                <a:solidFill>
                  <a:schemeClr val="tx2"/>
                </a:solidFill>
                <a:latin typeface="+mj-lt"/>
              </a:rPr>
              <a:t> </a:t>
            </a:r>
            <a:r>
              <a:rPr lang="fr-fr" sz="2000" b="0" i="0" u="none" baseline="0" dirty="0" err="1">
                <a:solidFill>
                  <a:schemeClr val="tx2"/>
                </a:solidFill>
                <a:latin typeface="+mj-lt"/>
              </a:rPr>
              <a:t>Aggarwal</a:t>
            </a:r>
            <a:r>
              <a:rPr lang="fr-fr" sz="2000" b="0" i="0" u="none" baseline="0" dirty="0">
                <a:solidFill>
                  <a:schemeClr val="tx2"/>
                </a:solidFill>
                <a:latin typeface="+mj-lt"/>
              </a:rPr>
              <a:t> </a:t>
            </a:r>
            <a:br>
              <a:rPr lang="fr-fr" sz="2000" dirty="0">
                <a:solidFill>
                  <a:schemeClr val="tx2"/>
                </a:solidFill>
                <a:latin typeface="+mj-lt"/>
              </a:rPr>
            </a:br>
            <a:r>
              <a:rPr lang="fr-fr" sz="1350" b="0" i="0" u="none" baseline="0" dirty="0">
                <a:solidFill>
                  <a:schemeClr val="tx2"/>
                </a:solidFill>
              </a:rPr>
              <a:t>Associate Vice </a:t>
            </a:r>
            <a:r>
              <a:rPr lang="fr-fr" sz="1350" b="0" i="0" u="none" baseline="0" dirty="0" err="1">
                <a:solidFill>
                  <a:schemeClr val="tx2"/>
                </a:solidFill>
              </a:rPr>
              <a:t>President</a:t>
            </a:r>
            <a:r>
              <a:rPr lang="fr-fr" sz="1350" b="0" i="0" u="none" baseline="0" dirty="0">
                <a:solidFill>
                  <a:schemeClr val="tx2"/>
                </a:solidFill>
              </a:rPr>
              <a:t>, Global Sales </a:t>
            </a:r>
            <a:br>
              <a:rPr lang="fr-fr" sz="1350" dirty="0">
                <a:solidFill>
                  <a:schemeClr val="tx2"/>
                </a:solidFill>
              </a:rPr>
            </a:br>
            <a:r>
              <a:rPr lang="fr-fr" sz="1350" b="0" i="0" u="none" baseline="0" dirty="0" err="1">
                <a:solidFill>
                  <a:schemeClr val="tx2"/>
                </a:solidFill>
              </a:rPr>
              <a:t>Effectiveness</a:t>
            </a:r>
            <a:r>
              <a:rPr lang="fr-fr" sz="1350" b="0" i="0" u="none" baseline="0" dirty="0">
                <a:solidFill>
                  <a:schemeClr val="tx2"/>
                </a:solidFill>
              </a:rPr>
              <a:t>, </a:t>
            </a:r>
            <a:r>
              <a:rPr lang="fr-fr" sz="1350" b="0" i="0" u="none" baseline="0" dirty="0" err="1">
                <a:solidFill>
                  <a:schemeClr val="tx2"/>
                </a:solidFill>
              </a:rPr>
              <a:t>Infosys</a:t>
            </a:r>
            <a:endParaRPr lang="fr-fr" sz="1350" b="0" i="0" u="none" baseline="0">
              <a:solidFill>
                <a:schemeClr val="tx2"/>
              </a:solidFill>
              <a:cs typeface="Segoe UI"/>
            </a:endParaRPr>
          </a:p>
        </p:txBody>
      </p:sp>
      <p:sp>
        <p:nvSpPr>
          <p:cNvPr id="20" name="Freeform: Shape 19">
            <a:extLst>
              <a:ext uri="{FF2B5EF4-FFF2-40B4-BE49-F238E27FC236}">
                <a16:creationId xmlns:a16="http://schemas.microsoft.com/office/drawing/2014/main" id="{0E853D80-0E8C-4DE8-AAFE-02E413D7B39D}"/>
              </a:ext>
            </a:extLst>
          </p:cNvPr>
          <p:cNvSpPr/>
          <p:nvPr/>
        </p:nvSpPr>
        <p:spPr bwMode="auto">
          <a:xfrm>
            <a:off x="783445" y="478631"/>
            <a:ext cx="4223529" cy="463550"/>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21" name="Group 20">
            <a:extLst>
              <a:ext uri="{FF2B5EF4-FFF2-40B4-BE49-F238E27FC236}">
                <a16:creationId xmlns:a16="http://schemas.microsoft.com/office/drawing/2014/main" id="{2BCC9D56-8A77-447A-B539-3BE9DA4B29F4}"/>
              </a:ext>
            </a:extLst>
          </p:cNvPr>
          <p:cNvGrpSpPr/>
          <p:nvPr/>
        </p:nvGrpSpPr>
        <p:grpSpPr>
          <a:xfrm>
            <a:off x="584200" y="670486"/>
            <a:ext cx="371160" cy="371160"/>
            <a:chOff x="490380" y="1113631"/>
            <a:chExt cx="766762" cy="766762"/>
          </a:xfrm>
        </p:grpSpPr>
        <p:sp>
          <p:nvSpPr>
            <p:cNvPr id="22" name="Oval 21">
              <a:extLst>
                <a:ext uri="{FF2B5EF4-FFF2-40B4-BE49-F238E27FC236}">
                  <a16:creationId xmlns:a16="http://schemas.microsoft.com/office/drawing/2014/main" id="{D0BC8427-62EC-4254-9648-EEC2D2A9457B}"/>
                </a:ext>
              </a:extLst>
            </p:cNvPr>
            <p:cNvSpPr/>
            <p:nvPr/>
          </p:nvSpPr>
          <p:spPr bwMode="auto">
            <a:xfrm>
              <a:off x="490380" y="1113631"/>
              <a:ext cx="766762" cy="76676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23" name="Graphic 12">
              <a:extLst>
                <a:ext uri="{FF2B5EF4-FFF2-40B4-BE49-F238E27FC236}">
                  <a16:creationId xmlns:a16="http://schemas.microsoft.com/office/drawing/2014/main" id="{88A12412-A8FD-45BF-B3FB-1FE0EEEA097D}"/>
                </a:ext>
              </a:extLst>
            </p:cNvPr>
            <p:cNvGrpSpPr/>
            <p:nvPr/>
          </p:nvGrpSpPr>
          <p:grpSpPr>
            <a:xfrm flipH="1">
              <a:off x="619660" y="1318684"/>
              <a:ext cx="508202" cy="356656"/>
              <a:chOff x="5753695" y="3190875"/>
              <a:chExt cx="669726" cy="470014"/>
            </a:xfrm>
            <a:solidFill>
              <a:schemeClr val="bg1"/>
            </a:solidFill>
          </p:grpSpPr>
          <p:sp>
            <p:nvSpPr>
              <p:cNvPr id="24" name="Freeform: Shape 23">
                <a:extLst>
                  <a:ext uri="{FF2B5EF4-FFF2-40B4-BE49-F238E27FC236}">
                    <a16:creationId xmlns:a16="http://schemas.microsoft.com/office/drawing/2014/main" id="{BE4B8F33-EA8C-4DF5-A85D-68F8D28FA997}"/>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25" name="Freeform: Shape 24">
                <a:extLst>
                  <a:ext uri="{FF2B5EF4-FFF2-40B4-BE49-F238E27FC236}">
                    <a16:creationId xmlns:a16="http://schemas.microsoft.com/office/drawing/2014/main" id="{C5BBC3B8-ADDF-4C3E-BC0C-9528856B7974}"/>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grpSp>
      <p:grpSp>
        <p:nvGrpSpPr>
          <p:cNvPr id="26" name="Group 25">
            <a:extLst>
              <a:ext uri="{FF2B5EF4-FFF2-40B4-BE49-F238E27FC236}">
                <a16:creationId xmlns:a16="http://schemas.microsoft.com/office/drawing/2014/main" id="{42E4D598-5073-4A15-85D3-4A606BB6B64C}"/>
              </a:ext>
            </a:extLst>
          </p:cNvPr>
          <p:cNvGrpSpPr/>
          <p:nvPr/>
        </p:nvGrpSpPr>
        <p:grpSpPr>
          <a:xfrm flipH="1" flipV="1">
            <a:off x="4572522" y="3012623"/>
            <a:ext cx="371160" cy="371160"/>
            <a:chOff x="490380" y="1113631"/>
            <a:chExt cx="766762" cy="766762"/>
          </a:xfrm>
        </p:grpSpPr>
        <p:sp>
          <p:nvSpPr>
            <p:cNvPr id="27" name="Oval 26">
              <a:extLst>
                <a:ext uri="{FF2B5EF4-FFF2-40B4-BE49-F238E27FC236}">
                  <a16:creationId xmlns:a16="http://schemas.microsoft.com/office/drawing/2014/main" id="{1D020F68-74BE-4A2F-88A1-B4D74C81607F}"/>
                </a:ext>
              </a:extLst>
            </p:cNvPr>
            <p:cNvSpPr/>
            <p:nvPr/>
          </p:nvSpPr>
          <p:spPr bwMode="auto">
            <a:xfrm>
              <a:off x="490380" y="1113631"/>
              <a:ext cx="766762" cy="76676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28" name="Graphic 12">
              <a:extLst>
                <a:ext uri="{FF2B5EF4-FFF2-40B4-BE49-F238E27FC236}">
                  <a16:creationId xmlns:a16="http://schemas.microsoft.com/office/drawing/2014/main" id="{ACA68B4D-1A38-4E3E-A090-047E8FD4E58E}"/>
                </a:ext>
              </a:extLst>
            </p:cNvPr>
            <p:cNvGrpSpPr/>
            <p:nvPr/>
          </p:nvGrpSpPr>
          <p:grpSpPr>
            <a:xfrm flipH="1">
              <a:off x="619660" y="1318684"/>
              <a:ext cx="508202" cy="356656"/>
              <a:chOff x="5753695" y="3190875"/>
              <a:chExt cx="669726" cy="470014"/>
            </a:xfrm>
            <a:solidFill>
              <a:schemeClr val="bg1"/>
            </a:solidFill>
          </p:grpSpPr>
          <p:sp>
            <p:nvSpPr>
              <p:cNvPr id="29" name="Freeform: Shape 28">
                <a:extLst>
                  <a:ext uri="{FF2B5EF4-FFF2-40B4-BE49-F238E27FC236}">
                    <a16:creationId xmlns:a16="http://schemas.microsoft.com/office/drawing/2014/main" id="{8F824810-9C05-4D9B-A1E6-469926289AA7}"/>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30" name="Freeform: Shape 29">
                <a:extLst>
                  <a:ext uri="{FF2B5EF4-FFF2-40B4-BE49-F238E27FC236}">
                    <a16:creationId xmlns:a16="http://schemas.microsoft.com/office/drawing/2014/main" id="{50B8C727-F5A1-4739-BBEE-72AE37DF39F4}"/>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grpSp>
      <p:cxnSp>
        <p:nvCxnSpPr>
          <p:cNvPr id="31" name="Straight Connector 30">
            <a:extLst>
              <a:ext uri="{FF2B5EF4-FFF2-40B4-BE49-F238E27FC236}">
                <a16:creationId xmlns:a16="http://schemas.microsoft.com/office/drawing/2014/main" id="{155CF532-4BAA-46C9-9446-F69048F8FAB9}"/>
              </a:ext>
            </a:extLst>
          </p:cNvPr>
          <p:cNvCxnSpPr>
            <a:cxnSpLocks/>
          </p:cNvCxnSpPr>
          <p:nvPr/>
        </p:nvCxnSpPr>
        <p:spPr>
          <a:xfrm>
            <a:off x="5008563" y="478631"/>
            <a:ext cx="0" cy="3080544"/>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itle 7">
            <a:extLst>
              <a:ext uri="{FF2B5EF4-FFF2-40B4-BE49-F238E27FC236}">
                <a16:creationId xmlns:a16="http://schemas.microsoft.com/office/drawing/2014/main" id="{210940A9-2454-4421-920C-A7EB2D608EE9}"/>
              </a:ext>
            </a:extLst>
          </p:cNvPr>
          <p:cNvSpPr txBox="1">
            <a:spLocks/>
          </p:cNvSpPr>
          <p:nvPr/>
        </p:nvSpPr>
        <p:spPr>
          <a:xfrm>
            <a:off x="-1" y="3683000"/>
            <a:ext cx="4943476" cy="2261826"/>
          </a:xfrm>
          <a:prstGeom prst="rect">
            <a:avLst/>
          </a:prstGeom>
          <a:solidFill>
            <a:schemeClr val="tx2"/>
          </a:solidFill>
        </p:spPr>
        <p:txBody>
          <a:bodyPr vert="horz" wrap="square" lIns="594360" tIns="38100" rIns="88900" bIns="38100" rtlCol="0" anchor="ctr">
            <a:noAutofit/>
          </a:bodyPr>
          <a:lstStyle>
            <a:lvl1pPr algn="l" defTabSz="932742" rtl="0" eaLnBrk="1" latinLnBrk="0" hangingPunct="1">
              <a:lnSpc>
                <a:spcPct val="100000"/>
              </a:lnSpc>
              <a:spcBef>
                <a:spcPct val="0"/>
              </a:spcBef>
              <a:buNone/>
              <a:defRPr lang="fr-fr" sz="3600" b="0" kern="1200" cap="none" spc="-50" baseline="0" dirty="0" smtClean="0">
                <a:ln w="3175">
                  <a:noFill/>
                </a:ln>
                <a:solidFill>
                  <a:schemeClr val="tx1"/>
                </a:solidFill>
                <a:effectLst/>
                <a:latin typeface="+mj-lt"/>
                <a:ea typeface="+mn-ea"/>
                <a:cs typeface="Segoe UI" pitchFamily="34" charset="0"/>
              </a:defRPr>
            </a:lvl1pPr>
          </a:lstStyle>
          <a:p>
            <a:pPr>
              <a:spcBef>
                <a:spcPts val="0"/>
              </a:spcBef>
            </a:pPr>
            <a:r>
              <a:rPr lang="fr-FR" sz="2000" spc="0" dirty="0" err="1">
                <a:solidFill>
                  <a:schemeClr val="bg1"/>
                </a:solidFill>
                <a:cs typeface="Segoe UI"/>
              </a:rPr>
              <a:t>Infosys</a:t>
            </a:r>
            <a:r>
              <a:rPr lang="fr-FR" sz="2000" spc="0" dirty="0">
                <a:solidFill>
                  <a:schemeClr val="bg1"/>
                </a:solidFill>
                <a:cs typeface="Segoe UI"/>
              </a:rPr>
              <a:t> renforce les liens avec ses clients à grande échelle par le biais de processus de vente s'appuyant sur la relation client</a:t>
            </a:r>
            <a:r>
              <a:rPr lang="fr-fr" sz="2000" spc="0" dirty="0">
                <a:solidFill>
                  <a:schemeClr val="bg1"/>
                </a:solidFill>
                <a:cs typeface="Segoe UI"/>
              </a:rPr>
              <a:t> </a:t>
            </a:r>
            <a:endParaRPr lang="fr-fr" sz="2000" b="0" i="0" u="none" spc="0" baseline="0" dirty="0">
              <a:solidFill>
                <a:schemeClr val="bg1"/>
              </a:solidFill>
            </a:endParaRPr>
          </a:p>
        </p:txBody>
      </p:sp>
      <p:sp>
        <p:nvSpPr>
          <p:cNvPr id="33" name="Freeform: Shape 32">
            <a:extLst>
              <a:ext uri="{FF2B5EF4-FFF2-40B4-BE49-F238E27FC236}">
                <a16:creationId xmlns:a16="http://schemas.microsoft.com/office/drawing/2014/main" id="{BB607CC9-695F-4B3B-A993-2FBC9C75870F}"/>
              </a:ext>
            </a:extLst>
          </p:cNvPr>
          <p:cNvSpPr/>
          <p:nvPr/>
        </p:nvSpPr>
        <p:spPr bwMode="auto">
          <a:xfrm>
            <a:off x="5073445" y="3683000"/>
            <a:ext cx="6688334" cy="2261826"/>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sp>
        <p:nvSpPr>
          <p:cNvPr id="34" name="Text Placeholder 8">
            <a:extLst>
              <a:ext uri="{FF2B5EF4-FFF2-40B4-BE49-F238E27FC236}">
                <a16:creationId xmlns:a16="http://schemas.microsoft.com/office/drawing/2014/main" id="{409FF2B4-FF12-453A-8E65-68D2B1A57F75}"/>
              </a:ext>
            </a:extLst>
          </p:cNvPr>
          <p:cNvSpPr txBox="1">
            <a:spLocks/>
          </p:cNvSpPr>
          <p:nvPr/>
        </p:nvSpPr>
        <p:spPr>
          <a:xfrm>
            <a:off x="5286375" y="3745865"/>
            <a:ext cx="6475411" cy="2113236"/>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rtl="0">
              <a:spcBef>
                <a:spcPts val="0"/>
              </a:spcBef>
              <a:spcAft>
                <a:spcPts val="600"/>
              </a:spcAft>
              <a:buClr>
                <a:schemeClr val="tx2"/>
              </a:buClr>
              <a:buSzPct val="100000"/>
              <a:buNone/>
            </a:pPr>
            <a:r>
              <a:rPr lang="fr-fr" sz="1350" b="0" i="0" u="none" baseline="0" dirty="0">
                <a:cs typeface="Segoe UI"/>
              </a:rPr>
              <a:t>Fort de ses décennies d</a:t>
            </a:r>
            <a:r>
              <a:rPr lang="fr-FR" sz="1350" b="0" i="0" u="none" baseline="0" dirty="0">
                <a:cs typeface="Segoe UI"/>
              </a:rPr>
              <a:t>’</a:t>
            </a:r>
            <a:r>
              <a:rPr lang="fr-fr" sz="1350" b="0" i="0" u="none" baseline="0" dirty="0">
                <a:cs typeface="Segoe UI"/>
              </a:rPr>
              <a:t>expérience en IT, </a:t>
            </a:r>
            <a:r>
              <a:rPr lang="fr-fr" sz="1350" b="0" i="0" u="none" baseline="0" dirty="0" err="1">
                <a:cs typeface="Segoe UI"/>
              </a:rPr>
              <a:t>Infosys</a:t>
            </a:r>
            <a:r>
              <a:rPr lang="fr-fr" sz="1350" b="0" i="0" u="none" baseline="0" dirty="0">
                <a:cs typeface="Segoe UI"/>
              </a:rPr>
              <a:t> avait parfaitement conscience </a:t>
            </a:r>
            <a:br>
              <a:rPr lang="fr-fr" sz="1350" b="0" i="0" u="none" baseline="0" dirty="0"/>
            </a:br>
            <a:r>
              <a:rPr lang="fr-fr" sz="1350" b="0" i="0" u="none" baseline="0" dirty="0">
                <a:cs typeface="Segoe UI"/>
              </a:rPr>
              <a:t>de l</a:t>
            </a:r>
            <a:r>
              <a:rPr lang="fr-FR" sz="1350" b="0" i="0" u="none" baseline="0" dirty="0">
                <a:cs typeface="Segoe UI"/>
              </a:rPr>
              <a:t>’</a:t>
            </a:r>
            <a:r>
              <a:rPr lang="fr-fr" sz="1350" b="0" i="0" u="none" baseline="0" dirty="0">
                <a:cs typeface="Segoe UI"/>
              </a:rPr>
              <a:t>importance de la gestion de la relation client. L</a:t>
            </a:r>
            <a:r>
              <a:rPr lang="fr-FR" sz="1350" b="0" i="0" u="none" baseline="0" dirty="0">
                <a:cs typeface="Segoe UI"/>
              </a:rPr>
              <a:t>’</a:t>
            </a:r>
            <a:r>
              <a:rPr lang="fr-fr" sz="1350" b="0" i="0" u="none" baseline="0" dirty="0">
                <a:cs typeface="Segoe UI"/>
              </a:rPr>
              <a:t>entreprise avait développé une solution de gestion de la relation client qui offrait une vision quasiment en temps </a:t>
            </a:r>
            <a:br>
              <a:rPr lang="fr-fr" sz="1350" b="0" i="0" u="none" baseline="0" dirty="0"/>
            </a:br>
            <a:r>
              <a:rPr lang="fr-fr" sz="1350" b="0" i="0" u="none" baseline="0" dirty="0">
                <a:cs typeface="Segoe UI"/>
              </a:rPr>
              <a:t>réel des informations sur les clients. La complexité du processus de vente a fini par faire boule de neige, et l</a:t>
            </a:r>
            <a:r>
              <a:rPr lang="fr-FR" sz="1350" b="0" i="0" u="none" baseline="0" dirty="0">
                <a:cs typeface="Segoe UI"/>
              </a:rPr>
              <a:t>’</a:t>
            </a:r>
            <a:r>
              <a:rPr lang="fr-fr" sz="1350" b="0" i="0" u="none" baseline="0" dirty="0">
                <a:cs typeface="Segoe UI"/>
              </a:rPr>
              <a:t>entreprise a dû développer une solution maison. Pour aider </a:t>
            </a:r>
            <a:br>
              <a:rPr lang="fr-fr" sz="1350" b="0" i="0" u="none" baseline="0" dirty="0"/>
            </a:br>
            <a:r>
              <a:rPr lang="fr-fr" sz="1350" b="0" i="0" u="none" baseline="0" dirty="0">
                <a:cs typeface="Segoe UI"/>
              </a:rPr>
              <a:t>à créer des liens sociaux et commerciaux à travers son réseau de vente mondial, </a:t>
            </a:r>
            <a:r>
              <a:rPr lang="fr-fr" sz="1350" b="0" i="0" u="none" baseline="0" dirty="0" err="1">
                <a:cs typeface="Segoe UI"/>
              </a:rPr>
              <a:t>Infosys</a:t>
            </a:r>
            <a:r>
              <a:rPr lang="fr-fr" sz="1350" b="0" i="0" u="none" baseline="0" dirty="0">
                <a:cs typeface="Segoe UI"/>
              </a:rPr>
              <a:t> a réuni Microsoft Dynamics 365 Sales et LinkedIn Sales Navigator— une solution que Microsoft appelle Relationship Sales. Hautement personnalisable et compatible avec les technologies mobiles, la solution a considérablement réduit </a:t>
            </a:r>
            <a:br>
              <a:rPr lang="fr-fr" sz="1350" b="0" i="0" u="none" baseline="0" dirty="0"/>
            </a:br>
            <a:r>
              <a:rPr lang="fr-fr" sz="1350" b="0" i="0" u="none" baseline="0" dirty="0">
                <a:cs typeface="Segoe UI"/>
              </a:rPr>
              <a:t>la complexité des processus pour les collaborateurs d</a:t>
            </a:r>
            <a:r>
              <a:rPr lang="fr-FR" sz="1350" b="0" i="0" u="none" baseline="0" dirty="0">
                <a:cs typeface="Segoe UI"/>
              </a:rPr>
              <a:t>’</a:t>
            </a:r>
            <a:r>
              <a:rPr lang="fr-fr" sz="1350" b="0" i="0" u="none" baseline="0" dirty="0" err="1">
                <a:cs typeface="Segoe UI"/>
              </a:rPr>
              <a:t>Infosys</a:t>
            </a:r>
            <a:r>
              <a:rPr lang="fr-fr" sz="1350" b="0" i="0" u="none" baseline="0" dirty="0">
                <a:cs typeface="Segoe UI"/>
              </a:rPr>
              <a:t>.</a:t>
            </a:r>
          </a:p>
        </p:txBody>
      </p:sp>
      <p:grpSp>
        <p:nvGrpSpPr>
          <p:cNvPr id="35" name="Group 34">
            <a:extLst>
              <a:ext uri="{FF2B5EF4-FFF2-40B4-BE49-F238E27FC236}">
                <a16:creationId xmlns:a16="http://schemas.microsoft.com/office/drawing/2014/main" id="{A3F75A29-E8EB-48EB-AF4F-63F99E5C467E}"/>
              </a:ext>
            </a:extLst>
          </p:cNvPr>
          <p:cNvGrpSpPr/>
          <p:nvPr/>
        </p:nvGrpSpPr>
        <p:grpSpPr>
          <a:xfrm>
            <a:off x="4996244" y="3768725"/>
            <a:ext cx="154400" cy="438150"/>
            <a:chOff x="4996244" y="4029075"/>
            <a:chExt cx="154400" cy="438150"/>
          </a:xfrm>
        </p:grpSpPr>
        <p:sp>
          <p:nvSpPr>
            <p:cNvPr id="36" name="Oval 35">
              <a:extLst>
                <a:ext uri="{FF2B5EF4-FFF2-40B4-BE49-F238E27FC236}">
                  <a16:creationId xmlns:a16="http://schemas.microsoft.com/office/drawing/2014/main" id="{A3465879-0E03-487C-8B6C-DF99CB437B07}"/>
                </a:ext>
              </a:extLst>
            </p:cNvPr>
            <p:cNvSpPr/>
            <p:nvPr/>
          </p:nvSpPr>
          <p:spPr bwMode="auto">
            <a:xfrm>
              <a:off x="4996244" y="4170950"/>
              <a:ext cx="154400" cy="154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cxnSp>
          <p:nvCxnSpPr>
            <p:cNvPr id="37" name="Straight Connector 36">
              <a:extLst>
                <a:ext uri="{FF2B5EF4-FFF2-40B4-BE49-F238E27FC236}">
                  <a16:creationId xmlns:a16="http://schemas.microsoft.com/office/drawing/2014/main" id="{8FC9F8B6-A7E0-41BC-9BC0-AE283C4FD09C}"/>
                </a:ext>
              </a:extLst>
            </p:cNvPr>
            <p:cNvCxnSpPr>
              <a:cxnSpLocks/>
            </p:cNvCxnSpPr>
            <p:nvPr/>
          </p:nvCxnSpPr>
          <p:spPr>
            <a:xfrm>
              <a:off x="5073445" y="4029075"/>
              <a:ext cx="0" cy="43815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7" name="Text Placeholder 11">
            <a:extLst>
              <a:ext uri="{FF2B5EF4-FFF2-40B4-BE49-F238E27FC236}">
                <a16:creationId xmlns:a16="http://schemas.microsoft.com/office/drawing/2014/main" id="{57CD8B16-EE97-4A96-9649-88219B940363}"/>
              </a:ext>
            </a:extLst>
          </p:cNvPr>
          <p:cNvSpPr txBox="1">
            <a:spLocks/>
          </p:cNvSpPr>
          <p:nvPr/>
        </p:nvSpPr>
        <p:spPr>
          <a:xfrm>
            <a:off x="2788138"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Produits et services</a:t>
            </a:r>
            <a:endParaRPr lang="fr-fr" sz="900" dirty="0">
              <a:cs typeface="Segoe UI"/>
            </a:endParaRPr>
          </a:p>
          <a:p>
            <a:pPr marL="0" indent="0" algn="l" rtl="0">
              <a:spcBef>
                <a:spcPts val="100"/>
              </a:spcBef>
              <a:spcAft>
                <a:spcPts val="200"/>
              </a:spcAft>
              <a:buNone/>
            </a:pPr>
            <a:r>
              <a:rPr lang="fr-fr" sz="900" b="0" i="0" u="none" baseline="0" dirty="0">
                <a:cs typeface="Segoe UI"/>
              </a:rPr>
              <a:t>Dynamics 365 Sales</a:t>
            </a:r>
          </a:p>
          <a:p>
            <a:pPr marL="0" indent="0" algn="l" rtl="0">
              <a:spcBef>
                <a:spcPts val="100"/>
              </a:spcBef>
              <a:spcAft>
                <a:spcPts val="200"/>
              </a:spcAft>
              <a:buNone/>
            </a:pPr>
            <a:r>
              <a:rPr lang="fr-fr" sz="900" b="0" i="0" u="none" baseline="0" dirty="0">
                <a:cs typeface="Segoe UI"/>
              </a:rPr>
              <a:t>LinkedIn Sales Navigator</a:t>
            </a:r>
          </a:p>
        </p:txBody>
      </p:sp>
      <p:sp>
        <p:nvSpPr>
          <p:cNvPr id="48" name="Text Placeholder 11">
            <a:extLst>
              <a:ext uri="{FF2B5EF4-FFF2-40B4-BE49-F238E27FC236}">
                <a16:creationId xmlns:a16="http://schemas.microsoft.com/office/drawing/2014/main" id="{D22FB514-CA17-47B4-9953-C438C0BBBAD9}"/>
              </a:ext>
            </a:extLst>
          </p:cNvPr>
          <p:cNvSpPr txBox="1">
            <a:spLocks/>
          </p:cNvSpPr>
          <p:nvPr/>
        </p:nvSpPr>
        <p:spPr>
          <a:xfrm>
            <a:off x="4779502"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Taille de l</a:t>
            </a:r>
            <a:r>
              <a:rPr lang="fr-FR" sz="900" b="1" i="0" u="none" baseline="0" dirty="0">
                <a:latin typeface="Segoe UI Semibold"/>
                <a:cs typeface="Segoe UI"/>
              </a:rPr>
              <a:t>’</a:t>
            </a:r>
            <a:r>
              <a:rPr lang="fr-fr" sz="900" b="1" i="0" u="none" baseline="0" dirty="0">
                <a:latin typeface="Segoe UI Semibold"/>
                <a:cs typeface="Segoe UI"/>
              </a:rPr>
              <a:t>organisation</a:t>
            </a:r>
            <a:endParaRPr lang="fr-fr" sz="900" dirty="0">
              <a:cs typeface="Segoe UI"/>
            </a:endParaRPr>
          </a:p>
          <a:p>
            <a:pPr marL="0" indent="0">
              <a:spcAft>
                <a:spcPts val="200"/>
              </a:spcAft>
              <a:buNone/>
            </a:pPr>
            <a:r>
              <a:rPr lang="fr-fr" sz="900" b="0" i="0" u="none" baseline="0" dirty="0">
                <a:cs typeface="Segoe UI"/>
              </a:rPr>
              <a:t>Grand groupe (plus de 10 000 employés)</a:t>
            </a:r>
            <a:r>
              <a:rPr lang="fr-fr" sz="900" dirty="0">
                <a:cs typeface="Segoe UI"/>
              </a:rPr>
              <a:t> </a:t>
            </a:r>
            <a:endParaRPr lang="fr-fr" sz="900" b="0" i="0" u="none" baseline="0" dirty="0"/>
          </a:p>
        </p:txBody>
      </p:sp>
      <p:sp>
        <p:nvSpPr>
          <p:cNvPr id="49" name="Text Placeholder 11">
            <a:extLst>
              <a:ext uri="{FF2B5EF4-FFF2-40B4-BE49-F238E27FC236}">
                <a16:creationId xmlns:a16="http://schemas.microsoft.com/office/drawing/2014/main" id="{671B752C-C6CA-4668-860F-65D2AA993F96}"/>
              </a:ext>
            </a:extLst>
          </p:cNvPr>
          <p:cNvSpPr txBox="1">
            <a:spLocks/>
          </p:cNvSpPr>
          <p:nvPr/>
        </p:nvSpPr>
        <p:spPr>
          <a:xfrm>
            <a:off x="6770866"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Secteur d</a:t>
            </a:r>
            <a:r>
              <a:rPr lang="fr-FR" sz="900" b="1" i="0" u="none" baseline="0" dirty="0">
                <a:latin typeface="Segoe UI Semibold"/>
                <a:cs typeface="Segoe UI"/>
              </a:rPr>
              <a:t>’</a:t>
            </a:r>
            <a:r>
              <a:rPr lang="fr-fr" sz="900" b="1" i="0" u="none" baseline="0" dirty="0">
                <a:latin typeface="Segoe UI Semibold"/>
                <a:cs typeface="Segoe UI"/>
              </a:rPr>
              <a:t>activité</a:t>
            </a:r>
            <a:endParaRPr lang="fr-fr" sz="900" dirty="0">
              <a:cs typeface="Segoe UI"/>
            </a:endParaRPr>
          </a:p>
          <a:p>
            <a:pPr marL="0" indent="0" algn="l" rtl="0">
              <a:spcAft>
                <a:spcPts val="200"/>
              </a:spcAft>
              <a:buNone/>
            </a:pPr>
            <a:r>
              <a:rPr lang="fr-fr" sz="900" b="0" i="0" u="none" baseline="0" dirty="0">
                <a:cs typeface="Segoe UI"/>
              </a:rPr>
              <a:t>Services professionnels partenaires</a:t>
            </a:r>
          </a:p>
        </p:txBody>
      </p:sp>
      <p:sp>
        <p:nvSpPr>
          <p:cNvPr id="50" name="Text Placeholder 11">
            <a:extLst>
              <a:ext uri="{FF2B5EF4-FFF2-40B4-BE49-F238E27FC236}">
                <a16:creationId xmlns:a16="http://schemas.microsoft.com/office/drawing/2014/main" id="{5F485983-129E-459B-99DA-457803E74E5D}"/>
              </a:ext>
            </a:extLst>
          </p:cNvPr>
          <p:cNvSpPr txBox="1">
            <a:spLocks/>
          </p:cNvSpPr>
          <p:nvPr/>
        </p:nvSpPr>
        <p:spPr>
          <a:xfrm>
            <a:off x="8762230"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Pays</a:t>
            </a:r>
            <a:endParaRPr lang="fr-fr" sz="900" dirty="0">
              <a:cs typeface="Segoe UI"/>
            </a:endParaRPr>
          </a:p>
          <a:p>
            <a:pPr marL="0" indent="0" algn="l" rtl="0">
              <a:spcAft>
                <a:spcPts val="200"/>
              </a:spcAft>
              <a:buNone/>
            </a:pPr>
            <a:r>
              <a:rPr lang="fr-fr" sz="900" b="0" i="0" u="none" baseline="0" dirty="0">
                <a:cs typeface="Segoe UI"/>
              </a:rPr>
              <a:t>Inde</a:t>
            </a:r>
          </a:p>
        </p:txBody>
      </p:sp>
      <p:cxnSp>
        <p:nvCxnSpPr>
          <p:cNvPr id="51" name="Straight Connector 50">
            <a:extLst>
              <a:ext uri="{FF2B5EF4-FFF2-40B4-BE49-F238E27FC236}">
                <a16:creationId xmlns:a16="http://schemas.microsoft.com/office/drawing/2014/main" id="{C7C78851-A781-4F25-936E-1D4420A2DBB1}"/>
              </a:ext>
            </a:extLst>
          </p:cNvPr>
          <p:cNvCxnSpPr>
            <a:cxnSpLocks/>
          </p:cNvCxnSpPr>
          <p:nvPr/>
        </p:nvCxnSpPr>
        <p:spPr>
          <a:xfrm>
            <a:off x="4670195"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D0E11CF-8D53-40E3-92A4-A83DF12670B3}"/>
              </a:ext>
            </a:extLst>
          </p:cNvPr>
          <p:cNvCxnSpPr>
            <a:cxnSpLocks/>
          </p:cNvCxnSpPr>
          <p:nvPr/>
        </p:nvCxnSpPr>
        <p:spPr>
          <a:xfrm>
            <a:off x="6661559"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DD8CD82-F0DC-4D63-8D89-7CF7E5C3C60F}"/>
              </a:ext>
            </a:extLst>
          </p:cNvPr>
          <p:cNvCxnSpPr>
            <a:cxnSpLocks/>
          </p:cNvCxnSpPr>
          <p:nvPr/>
        </p:nvCxnSpPr>
        <p:spPr>
          <a:xfrm>
            <a:off x="8652923"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3AD15BEC-8E0A-4384-8E38-E811DA69C113}"/>
              </a:ext>
            </a:extLst>
          </p:cNvPr>
          <p:cNvSpPr/>
          <p:nvPr/>
        </p:nvSpPr>
        <p:spPr bwMode="auto">
          <a:xfrm rot="10800000" flipH="1" flipV="1">
            <a:off x="11043858" y="5852770"/>
            <a:ext cx="698990" cy="6989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55" name="Graphic 54">
            <a:extLst>
              <a:ext uri="{FF2B5EF4-FFF2-40B4-BE49-F238E27FC236}">
                <a16:creationId xmlns:a16="http://schemas.microsoft.com/office/drawing/2014/main" id="{BAFC2A8F-F739-4EE3-BF8E-982443F785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9037" y="5927949"/>
            <a:ext cx="548632" cy="548632"/>
          </a:xfrm>
          <a:prstGeom prst="rect">
            <a:avLst/>
          </a:prstGeom>
        </p:spPr>
      </p:pic>
      <p:pic>
        <p:nvPicPr>
          <p:cNvPr id="56" name="Picture Placeholder 17">
            <a:extLst>
              <a:ext uri="{FF2B5EF4-FFF2-40B4-BE49-F238E27FC236}">
                <a16:creationId xmlns:a16="http://schemas.microsoft.com/office/drawing/2014/main" id="{FECD1849-6071-42D7-8DA1-48915A6962FC}"/>
              </a:ext>
            </a:extLst>
          </p:cNvPr>
          <p:cNvPicPr>
            <a:picLocks noChangeAspect="1"/>
          </p:cNvPicPr>
          <p:nvPr/>
        </p:nvPicPr>
        <p:blipFill rotWithShape="1">
          <a:blip r:embed="rId5">
            <a:extLst>
              <a:ext uri="{28A0092B-C50C-407E-A947-70E740481C1C}">
                <a14:useLocalDpi xmlns:a14="http://schemas.microsoft.com/office/drawing/2010/main" val="0"/>
              </a:ext>
            </a:extLst>
          </a:blip>
          <a:srcRect t="-1657" b="-1657"/>
          <a:stretch/>
        </p:blipFill>
        <p:spPr>
          <a:xfrm>
            <a:off x="584200" y="6172364"/>
            <a:ext cx="1117600" cy="451590"/>
          </a:xfrm>
          <a:prstGeom prst="rect">
            <a:avLst/>
          </a:prstGeom>
        </p:spPr>
      </p:pic>
      <p:sp>
        <p:nvSpPr>
          <p:cNvPr id="38" name="Rectangle 37">
            <a:extLst>
              <a:ext uri="{FF2B5EF4-FFF2-40B4-BE49-F238E27FC236}">
                <a16:creationId xmlns:a16="http://schemas.microsoft.com/office/drawing/2014/main" id="{45EC1873-558B-4D35-808C-3EBF07A3E565}"/>
              </a:ext>
            </a:extLst>
          </p:cNvPr>
          <p:cNvSpPr/>
          <p:nvPr/>
        </p:nvSpPr>
        <p:spPr bwMode="auto">
          <a:xfrm>
            <a:off x="11761779" y="1010127"/>
            <a:ext cx="674695" cy="20175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6108446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a:extLst>
              <a:ext uri="{FF2B5EF4-FFF2-40B4-BE49-F238E27FC236}">
                <a16:creationId xmlns:a16="http://schemas.microsoft.com/office/drawing/2014/main" id="{2E31A083-8D81-4665-9289-BF6FB39017D0}"/>
              </a:ext>
            </a:extLst>
          </p:cNvPr>
          <p:cNvPicPr>
            <a:picLocks noChangeAspect="1"/>
          </p:cNvPicPr>
          <p:nvPr/>
        </p:nvPicPr>
        <p:blipFill rotWithShape="1">
          <a:blip r:embed="rId3"/>
          <a:srcRect l="6005" b="1294"/>
          <a:stretch/>
        </p:blipFill>
        <p:spPr>
          <a:xfrm>
            <a:off x="5815468" y="478631"/>
            <a:ext cx="5946319" cy="3080544"/>
          </a:xfrm>
          <a:custGeom>
            <a:avLst/>
            <a:gdLst>
              <a:gd name="connsiteX0" fmla="*/ 0 w 5946319"/>
              <a:gd name="connsiteY0" fmla="*/ 0 h 3080544"/>
              <a:gd name="connsiteX1" fmla="*/ 5946319 w 5946319"/>
              <a:gd name="connsiteY1" fmla="*/ 0 h 3080544"/>
              <a:gd name="connsiteX2" fmla="*/ 5946319 w 5946319"/>
              <a:gd name="connsiteY2" fmla="*/ 3080544 h 3080544"/>
              <a:gd name="connsiteX3" fmla="*/ 0 w 5946319"/>
              <a:gd name="connsiteY3" fmla="*/ 3080544 h 3080544"/>
            </a:gdLst>
            <a:ahLst/>
            <a:cxnLst>
              <a:cxn ang="0">
                <a:pos x="connsiteX0" y="connsiteY0"/>
              </a:cxn>
              <a:cxn ang="0">
                <a:pos x="connsiteX1" y="connsiteY1"/>
              </a:cxn>
              <a:cxn ang="0">
                <a:pos x="connsiteX2" y="connsiteY2"/>
              </a:cxn>
              <a:cxn ang="0">
                <a:pos x="connsiteX3" y="connsiteY3"/>
              </a:cxn>
            </a:cxnLst>
            <a:rect l="l" t="t" r="r" b="b"/>
            <a:pathLst>
              <a:path w="5946319" h="3080544">
                <a:moveTo>
                  <a:pt x="0" y="0"/>
                </a:moveTo>
                <a:lnTo>
                  <a:pt x="5946319" y="0"/>
                </a:lnTo>
                <a:lnTo>
                  <a:pt x="5946319" y="3080544"/>
                </a:lnTo>
                <a:lnTo>
                  <a:pt x="0" y="3080544"/>
                </a:lnTo>
                <a:close/>
              </a:path>
            </a:pathLst>
          </a:custGeom>
        </p:spPr>
      </p:pic>
      <p:sp>
        <p:nvSpPr>
          <p:cNvPr id="30" name="Freeform: Shape 29">
            <a:extLst>
              <a:ext uri="{FF2B5EF4-FFF2-40B4-BE49-F238E27FC236}">
                <a16:creationId xmlns:a16="http://schemas.microsoft.com/office/drawing/2014/main" id="{336E841C-D8B6-448E-8383-7A4F7311C54C}"/>
              </a:ext>
            </a:extLst>
          </p:cNvPr>
          <p:cNvSpPr/>
          <p:nvPr/>
        </p:nvSpPr>
        <p:spPr bwMode="auto">
          <a:xfrm flipH="1" flipV="1">
            <a:off x="-2" y="3340555"/>
            <a:ext cx="5419447" cy="218620"/>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sp>
        <p:nvSpPr>
          <p:cNvPr id="31" name="Freeform: Shape 30">
            <a:extLst>
              <a:ext uri="{FF2B5EF4-FFF2-40B4-BE49-F238E27FC236}">
                <a16:creationId xmlns:a16="http://schemas.microsoft.com/office/drawing/2014/main" id="{CA931388-9468-4DD5-9810-A24A4581D3C1}"/>
              </a:ext>
            </a:extLst>
          </p:cNvPr>
          <p:cNvSpPr/>
          <p:nvPr/>
        </p:nvSpPr>
        <p:spPr bwMode="auto">
          <a:xfrm>
            <a:off x="584201" y="1138609"/>
            <a:ext cx="4944601" cy="2358653"/>
          </a:xfrm>
          <a:custGeom>
            <a:avLst/>
            <a:gdLst>
              <a:gd name="connsiteX0" fmla="*/ 0 w 12191998"/>
              <a:gd name="connsiteY0" fmla="*/ 0 h 1691640"/>
              <a:gd name="connsiteX1" fmla="*/ 12191998 w 12191998"/>
              <a:gd name="connsiteY1" fmla="*/ 0 h 1691640"/>
              <a:gd name="connsiteX2" fmla="*/ 12191998 w 12191998"/>
              <a:gd name="connsiteY2" fmla="*/ 1691640 h 1691640"/>
              <a:gd name="connsiteX3" fmla="*/ 0 w 12191998"/>
              <a:gd name="connsiteY3" fmla="*/ 1691640 h 1691640"/>
              <a:gd name="connsiteX4" fmla="*/ 0 w 12191998"/>
              <a:gd name="connsiteY4" fmla="*/ 0 h 1691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98" h="1691640">
                <a:moveTo>
                  <a:pt x="0" y="0"/>
                </a:moveTo>
                <a:lnTo>
                  <a:pt x="12191998" y="0"/>
                </a:lnTo>
                <a:lnTo>
                  <a:pt x="12191998" y="1691640"/>
                </a:lnTo>
                <a:lnTo>
                  <a:pt x="0" y="1691640"/>
                </a:lnTo>
                <a:lnTo>
                  <a:pt x="0" y="0"/>
                </a:ln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l" rtl="0">
              <a:defRPr/>
            </a:pPr>
            <a:r>
              <a:rPr lang="fr-fr" sz="1800" b="0" i="1" u="none" baseline="0" dirty="0">
                <a:solidFill>
                  <a:schemeClr val="tx1"/>
                </a:solidFill>
              </a:rPr>
              <a:t>Avec Microsoft Dynamics 365 et Adobe </a:t>
            </a:r>
            <a:r>
              <a:rPr lang="fr-fr" sz="1800" b="0" i="1" u="none" baseline="0" dirty="0" err="1">
                <a:solidFill>
                  <a:schemeClr val="tx1"/>
                </a:solidFill>
              </a:rPr>
              <a:t>Experience</a:t>
            </a:r>
            <a:r>
              <a:rPr lang="fr-fr" sz="1800" b="0" i="1" u="none" baseline="0" dirty="0">
                <a:solidFill>
                  <a:schemeClr val="tx1"/>
                </a:solidFill>
              </a:rPr>
              <a:t> Cloud, nous sommes en mesure de rencontrer les clients là où ils se trouvent, avec les activités qui les intéressent pour atteindre leurs objectifs personnels de remise en forme.</a:t>
            </a:r>
            <a:endParaRPr lang="fr-fr" sz="1800" b="0" i="1" u="none" baseline="0" dirty="0">
              <a:solidFill>
                <a:schemeClr val="tx1"/>
              </a:solidFill>
              <a:cs typeface="Segoe UI"/>
            </a:endParaRPr>
          </a:p>
          <a:p>
            <a:pPr lvl="0" algn="l" rtl="0">
              <a:spcBef>
                <a:spcPts val="600"/>
              </a:spcBef>
              <a:defRPr/>
            </a:pPr>
            <a:r>
              <a:rPr lang="fr-fr" sz="2000" b="0" i="0" u="none" baseline="0" dirty="0" err="1">
                <a:solidFill>
                  <a:schemeClr val="tx2"/>
                </a:solidFill>
                <a:latin typeface="+mj-lt"/>
              </a:rPr>
              <a:t>Jenn</a:t>
            </a:r>
            <a:r>
              <a:rPr lang="fr-fr" sz="2000" b="0" i="0" u="none" baseline="0" dirty="0">
                <a:solidFill>
                  <a:schemeClr val="tx2"/>
                </a:solidFill>
                <a:latin typeface="+mj-lt"/>
              </a:rPr>
              <a:t> </a:t>
            </a:r>
            <a:r>
              <a:rPr lang="fr-fr" sz="2000" b="0" i="0" u="none" baseline="0" dirty="0" err="1">
                <a:solidFill>
                  <a:schemeClr val="tx2"/>
                </a:solidFill>
                <a:latin typeface="+mj-lt"/>
              </a:rPr>
              <a:t>Galantini</a:t>
            </a:r>
            <a:br>
              <a:rPr lang="fr-fr" sz="2000" dirty="0">
                <a:solidFill>
                  <a:schemeClr val="tx2"/>
                </a:solidFill>
                <a:latin typeface="+mj-lt"/>
              </a:rPr>
            </a:br>
            <a:r>
              <a:rPr lang="fr-fr" sz="1350" b="0" i="0" u="none" baseline="0" dirty="0" err="1">
                <a:solidFill>
                  <a:schemeClr val="tx2"/>
                </a:solidFill>
              </a:rPr>
              <a:t>Director</a:t>
            </a:r>
            <a:r>
              <a:rPr lang="fr-fr" sz="1350" b="0" i="0" u="none" baseline="0" dirty="0">
                <a:solidFill>
                  <a:schemeClr val="tx2"/>
                </a:solidFill>
              </a:rPr>
              <a:t> of Acquisition Marketing</a:t>
            </a:r>
            <a:br>
              <a:rPr lang="fr-fr" sz="1350" dirty="0">
                <a:solidFill>
                  <a:schemeClr val="tx2"/>
                </a:solidFill>
              </a:rPr>
            </a:br>
            <a:r>
              <a:rPr lang="fr-fr" sz="1350" b="0" i="0" u="none" baseline="0" dirty="0">
                <a:solidFill>
                  <a:schemeClr val="tx2"/>
                </a:solidFill>
              </a:rPr>
              <a:t>24 </a:t>
            </a:r>
            <a:r>
              <a:rPr lang="fr-fr" sz="1350" b="0" i="0" u="none" baseline="0" dirty="0" err="1">
                <a:solidFill>
                  <a:schemeClr val="tx2"/>
                </a:solidFill>
              </a:rPr>
              <a:t>Hour</a:t>
            </a:r>
            <a:r>
              <a:rPr lang="fr-fr" sz="1350" b="0" i="0" u="none" baseline="0" dirty="0">
                <a:solidFill>
                  <a:schemeClr val="tx2"/>
                </a:solidFill>
              </a:rPr>
              <a:t> Fitness</a:t>
            </a:r>
            <a:endParaRPr lang="fr-fr" sz="1350" b="0" i="0" u="none" baseline="0" dirty="0">
              <a:solidFill>
                <a:schemeClr val="tx2"/>
              </a:solidFill>
              <a:cs typeface="Segoe UI"/>
            </a:endParaRPr>
          </a:p>
        </p:txBody>
      </p:sp>
      <p:sp>
        <p:nvSpPr>
          <p:cNvPr id="32" name="Freeform: Shape 31">
            <a:extLst>
              <a:ext uri="{FF2B5EF4-FFF2-40B4-BE49-F238E27FC236}">
                <a16:creationId xmlns:a16="http://schemas.microsoft.com/office/drawing/2014/main" id="{0925EC90-457D-4F14-B297-A4C18DFC322E}"/>
              </a:ext>
            </a:extLst>
          </p:cNvPr>
          <p:cNvSpPr/>
          <p:nvPr/>
        </p:nvSpPr>
        <p:spPr bwMode="auto">
          <a:xfrm>
            <a:off x="783445" y="478631"/>
            <a:ext cx="4987117" cy="463550"/>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33" name="Group 32">
            <a:extLst>
              <a:ext uri="{FF2B5EF4-FFF2-40B4-BE49-F238E27FC236}">
                <a16:creationId xmlns:a16="http://schemas.microsoft.com/office/drawing/2014/main" id="{CD8790B9-5DBB-462E-9129-73741564B121}"/>
              </a:ext>
            </a:extLst>
          </p:cNvPr>
          <p:cNvGrpSpPr/>
          <p:nvPr/>
        </p:nvGrpSpPr>
        <p:grpSpPr>
          <a:xfrm>
            <a:off x="584200" y="670486"/>
            <a:ext cx="371160" cy="371160"/>
            <a:chOff x="490380" y="1113631"/>
            <a:chExt cx="766762" cy="766762"/>
          </a:xfrm>
        </p:grpSpPr>
        <p:sp>
          <p:nvSpPr>
            <p:cNvPr id="34" name="Oval 33">
              <a:extLst>
                <a:ext uri="{FF2B5EF4-FFF2-40B4-BE49-F238E27FC236}">
                  <a16:creationId xmlns:a16="http://schemas.microsoft.com/office/drawing/2014/main" id="{B8D2C6B4-0880-44B6-8E99-5A0CA4EE3159}"/>
                </a:ext>
              </a:extLst>
            </p:cNvPr>
            <p:cNvSpPr/>
            <p:nvPr/>
          </p:nvSpPr>
          <p:spPr bwMode="auto">
            <a:xfrm>
              <a:off x="490380" y="1113631"/>
              <a:ext cx="766762" cy="76676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35" name="Graphic 12">
              <a:extLst>
                <a:ext uri="{FF2B5EF4-FFF2-40B4-BE49-F238E27FC236}">
                  <a16:creationId xmlns:a16="http://schemas.microsoft.com/office/drawing/2014/main" id="{D012992C-2F6A-46C7-8373-66CD0438B189}"/>
                </a:ext>
              </a:extLst>
            </p:cNvPr>
            <p:cNvGrpSpPr/>
            <p:nvPr/>
          </p:nvGrpSpPr>
          <p:grpSpPr>
            <a:xfrm flipH="1">
              <a:off x="619660" y="1318684"/>
              <a:ext cx="508202" cy="356656"/>
              <a:chOff x="5753695" y="3190875"/>
              <a:chExt cx="669726" cy="470014"/>
            </a:xfrm>
            <a:solidFill>
              <a:schemeClr val="bg1"/>
            </a:solidFill>
          </p:grpSpPr>
          <p:sp>
            <p:nvSpPr>
              <p:cNvPr id="37" name="Freeform: Shape 36">
                <a:extLst>
                  <a:ext uri="{FF2B5EF4-FFF2-40B4-BE49-F238E27FC236}">
                    <a16:creationId xmlns:a16="http://schemas.microsoft.com/office/drawing/2014/main" id="{1AE39559-C32A-487B-8715-BF4EC5855080}"/>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38" name="Freeform: Shape 37">
                <a:extLst>
                  <a:ext uri="{FF2B5EF4-FFF2-40B4-BE49-F238E27FC236}">
                    <a16:creationId xmlns:a16="http://schemas.microsoft.com/office/drawing/2014/main" id="{4BD5E9E8-46E2-42A8-8F63-F67E15A94D86}"/>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grpSp>
      <p:grpSp>
        <p:nvGrpSpPr>
          <p:cNvPr id="39" name="Group 38">
            <a:extLst>
              <a:ext uri="{FF2B5EF4-FFF2-40B4-BE49-F238E27FC236}">
                <a16:creationId xmlns:a16="http://schemas.microsoft.com/office/drawing/2014/main" id="{978716BF-591D-4195-BBCD-EBD2F41AE7F2}"/>
              </a:ext>
            </a:extLst>
          </p:cNvPr>
          <p:cNvGrpSpPr/>
          <p:nvPr/>
        </p:nvGrpSpPr>
        <p:grpSpPr>
          <a:xfrm flipH="1" flipV="1">
            <a:off x="5220222" y="3012623"/>
            <a:ext cx="371160" cy="371160"/>
            <a:chOff x="490380" y="1113631"/>
            <a:chExt cx="766762" cy="766762"/>
          </a:xfrm>
        </p:grpSpPr>
        <p:sp>
          <p:nvSpPr>
            <p:cNvPr id="40" name="Oval 39">
              <a:extLst>
                <a:ext uri="{FF2B5EF4-FFF2-40B4-BE49-F238E27FC236}">
                  <a16:creationId xmlns:a16="http://schemas.microsoft.com/office/drawing/2014/main" id="{31684DA4-6186-4239-AB88-3550D3A57070}"/>
                </a:ext>
              </a:extLst>
            </p:cNvPr>
            <p:cNvSpPr/>
            <p:nvPr/>
          </p:nvSpPr>
          <p:spPr bwMode="auto">
            <a:xfrm>
              <a:off x="490380" y="1113631"/>
              <a:ext cx="766762" cy="76676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41" name="Graphic 12">
              <a:extLst>
                <a:ext uri="{FF2B5EF4-FFF2-40B4-BE49-F238E27FC236}">
                  <a16:creationId xmlns:a16="http://schemas.microsoft.com/office/drawing/2014/main" id="{C6C04849-FA16-4A88-9131-736A11176AD7}"/>
                </a:ext>
              </a:extLst>
            </p:cNvPr>
            <p:cNvGrpSpPr/>
            <p:nvPr/>
          </p:nvGrpSpPr>
          <p:grpSpPr>
            <a:xfrm flipH="1">
              <a:off x="619660" y="1318684"/>
              <a:ext cx="508202" cy="356656"/>
              <a:chOff x="5753695" y="3190875"/>
              <a:chExt cx="669726" cy="470014"/>
            </a:xfrm>
            <a:solidFill>
              <a:schemeClr val="bg1"/>
            </a:solidFill>
          </p:grpSpPr>
          <p:sp>
            <p:nvSpPr>
              <p:cNvPr id="42" name="Freeform: Shape 41">
                <a:extLst>
                  <a:ext uri="{FF2B5EF4-FFF2-40B4-BE49-F238E27FC236}">
                    <a16:creationId xmlns:a16="http://schemas.microsoft.com/office/drawing/2014/main" id="{3CDD8C9A-A9E5-48B2-BC94-18550428785A}"/>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43" name="Freeform: Shape 42">
                <a:extLst>
                  <a:ext uri="{FF2B5EF4-FFF2-40B4-BE49-F238E27FC236}">
                    <a16:creationId xmlns:a16="http://schemas.microsoft.com/office/drawing/2014/main" id="{7B98596B-78B5-468A-9DB1-F4A5036880CC}"/>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grpSp>
      <p:cxnSp>
        <p:nvCxnSpPr>
          <p:cNvPr id="44" name="Straight Connector 43">
            <a:extLst>
              <a:ext uri="{FF2B5EF4-FFF2-40B4-BE49-F238E27FC236}">
                <a16:creationId xmlns:a16="http://schemas.microsoft.com/office/drawing/2014/main" id="{8CF4BD0D-D2A1-418C-9513-DD954F11FD81}"/>
              </a:ext>
            </a:extLst>
          </p:cNvPr>
          <p:cNvCxnSpPr>
            <a:cxnSpLocks/>
          </p:cNvCxnSpPr>
          <p:nvPr/>
        </p:nvCxnSpPr>
        <p:spPr>
          <a:xfrm>
            <a:off x="5770563" y="478631"/>
            <a:ext cx="0" cy="3080544"/>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Title 7">
            <a:extLst>
              <a:ext uri="{FF2B5EF4-FFF2-40B4-BE49-F238E27FC236}">
                <a16:creationId xmlns:a16="http://schemas.microsoft.com/office/drawing/2014/main" id="{CB3C713C-C112-4B75-8CAF-C47AC12A1F3C}"/>
              </a:ext>
            </a:extLst>
          </p:cNvPr>
          <p:cNvSpPr txBox="1">
            <a:spLocks/>
          </p:cNvSpPr>
          <p:nvPr/>
        </p:nvSpPr>
        <p:spPr>
          <a:xfrm>
            <a:off x="-1" y="3683000"/>
            <a:ext cx="4943476" cy="2261826"/>
          </a:xfrm>
          <a:prstGeom prst="rect">
            <a:avLst/>
          </a:prstGeom>
          <a:solidFill>
            <a:schemeClr val="tx2"/>
          </a:solidFill>
        </p:spPr>
        <p:txBody>
          <a:bodyPr vert="horz" wrap="square" lIns="594360" tIns="38100" rIns="88900" bIns="38100" rtlCol="0" anchor="ctr">
            <a:noAutofit/>
          </a:bodyPr>
          <a:lstStyle>
            <a:lvl1pPr algn="l" defTabSz="932742" rtl="0" eaLnBrk="1" latinLnBrk="0" hangingPunct="1">
              <a:lnSpc>
                <a:spcPct val="100000"/>
              </a:lnSpc>
              <a:spcBef>
                <a:spcPct val="0"/>
              </a:spcBef>
              <a:buNone/>
              <a:defRPr lang="fr-fr" sz="3600" b="0" kern="1200" cap="none" spc="-50" baseline="0" dirty="0" smtClean="0">
                <a:ln w="3175">
                  <a:noFill/>
                </a:ln>
                <a:solidFill>
                  <a:schemeClr val="tx1"/>
                </a:solidFill>
                <a:effectLst/>
                <a:latin typeface="+mj-lt"/>
                <a:ea typeface="+mn-ea"/>
                <a:cs typeface="Segoe UI" pitchFamily="34" charset="0"/>
              </a:defRPr>
            </a:lvl1pPr>
          </a:lstStyle>
          <a:p>
            <a:pPr algn="l" rtl="0">
              <a:spcBef>
                <a:spcPts val="0"/>
              </a:spcBef>
            </a:pPr>
            <a:r>
              <a:rPr lang="fr-fr" sz="2000" b="0" i="0" u="none" spc="0" baseline="0" dirty="0">
                <a:solidFill>
                  <a:schemeClr val="bg1"/>
                </a:solidFill>
                <a:cs typeface="Segoe UI"/>
              </a:rPr>
              <a:t>24 </a:t>
            </a:r>
            <a:r>
              <a:rPr lang="fr-fr" sz="2000" b="0" i="0" u="none" spc="0" baseline="0" dirty="0" err="1">
                <a:solidFill>
                  <a:schemeClr val="bg1"/>
                </a:solidFill>
                <a:cs typeface="Segoe UI"/>
              </a:rPr>
              <a:t>Hour</a:t>
            </a:r>
            <a:r>
              <a:rPr lang="fr-fr" sz="2000" b="0" i="0" u="none" spc="0" baseline="0" dirty="0">
                <a:solidFill>
                  <a:schemeClr val="bg1"/>
                </a:solidFill>
                <a:cs typeface="Segoe UI"/>
              </a:rPr>
              <a:t> Fitness analyse les données pour créer des expériences client personnalisées</a:t>
            </a:r>
          </a:p>
        </p:txBody>
      </p:sp>
      <p:sp>
        <p:nvSpPr>
          <p:cNvPr id="46" name="Freeform: Shape 45">
            <a:extLst>
              <a:ext uri="{FF2B5EF4-FFF2-40B4-BE49-F238E27FC236}">
                <a16:creationId xmlns:a16="http://schemas.microsoft.com/office/drawing/2014/main" id="{AD4C91F0-89E0-4B44-A168-81A293B4943F}"/>
              </a:ext>
            </a:extLst>
          </p:cNvPr>
          <p:cNvSpPr/>
          <p:nvPr/>
        </p:nvSpPr>
        <p:spPr bwMode="auto">
          <a:xfrm>
            <a:off x="5073445" y="3683000"/>
            <a:ext cx="6688334" cy="2261826"/>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sp>
        <p:nvSpPr>
          <p:cNvPr id="47" name="Text Placeholder 8">
            <a:extLst>
              <a:ext uri="{FF2B5EF4-FFF2-40B4-BE49-F238E27FC236}">
                <a16:creationId xmlns:a16="http://schemas.microsoft.com/office/drawing/2014/main" id="{531BFE86-CC09-4574-A6DD-D5A2655A1C29}"/>
              </a:ext>
            </a:extLst>
          </p:cNvPr>
          <p:cNvSpPr txBox="1">
            <a:spLocks/>
          </p:cNvSpPr>
          <p:nvPr/>
        </p:nvSpPr>
        <p:spPr>
          <a:xfrm>
            <a:off x="5286375" y="3745865"/>
            <a:ext cx="6475411" cy="2113236"/>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rtl="0">
              <a:lnSpc>
                <a:spcPct val="95000"/>
              </a:lnSpc>
              <a:spcBef>
                <a:spcPts val="0"/>
              </a:spcBef>
              <a:spcAft>
                <a:spcPts val="600"/>
              </a:spcAft>
              <a:buClr>
                <a:schemeClr val="tx2"/>
              </a:buClr>
              <a:buSzPct val="100000"/>
              <a:buNone/>
            </a:pPr>
            <a:r>
              <a:rPr lang="fr-fr" sz="1350" b="0" i="0" u="none" baseline="0" dirty="0">
                <a:cs typeface="Segoe UI"/>
              </a:rPr>
              <a:t>Presque tout le monde veut garder la forme, mais les moyens d</a:t>
            </a:r>
            <a:r>
              <a:rPr lang="fr-FR" sz="1350" b="0" i="0" u="none" baseline="0" dirty="0">
                <a:cs typeface="Segoe UI"/>
              </a:rPr>
              <a:t>’</a:t>
            </a:r>
            <a:r>
              <a:rPr lang="fr-fr" sz="1350" b="0" i="0" u="none" baseline="0" dirty="0">
                <a:cs typeface="Segoe UI"/>
              </a:rPr>
              <a:t>y parvenir diffèrent d</a:t>
            </a:r>
            <a:r>
              <a:rPr lang="fr-FR" sz="1350" b="0" i="0" u="none" baseline="0" dirty="0">
                <a:cs typeface="Segoe UI"/>
              </a:rPr>
              <a:t>’</a:t>
            </a:r>
            <a:r>
              <a:rPr lang="fr-fr" sz="1350" b="0" i="0" u="none" baseline="0" dirty="0">
                <a:cs typeface="Segoe UI"/>
              </a:rPr>
              <a:t>une personne à l</a:t>
            </a:r>
            <a:r>
              <a:rPr lang="fr-FR" sz="1350" b="0" i="0" u="none" baseline="0" dirty="0">
                <a:cs typeface="Segoe UI"/>
              </a:rPr>
              <a:t>’</a:t>
            </a:r>
            <a:r>
              <a:rPr lang="fr-fr" sz="1350" b="0" i="0" u="none" baseline="0" dirty="0">
                <a:cs typeface="Segoe UI"/>
              </a:rPr>
              <a:t>autre. Dans un marché du bien-être que se disputent de nombreux acteurs, 24 </a:t>
            </a:r>
            <a:r>
              <a:rPr lang="fr-fr" sz="1350" b="0" i="0" u="none" baseline="0" dirty="0" err="1">
                <a:cs typeface="Segoe UI"/>
              </a:rPr>
              <a:t>Hour</a:t>
            </a:r>
            <a:r>
              <a:rPr lang="fr-fr" sz="1350" b="0" i="0" u="none" baseline="0" dirty="0">
                <a:cs typeface="Segoe UI"/>
              </a:rPr>
              <a:t> Fitness tire son épingle du jeu, non seulement par son approche innovante du fitness, mais aussi par la personnalisation de ses services. L</a:t>
            </a:r>
            <a:r>
              <a:rPr lang="fr-FR" sz="1350" b="0" i="0" u="none" baseline="0" dirty="0">
                <a:cs typeface="Segoe UI"/>
              </a:rPr>
              <a:t>’</a:t>
            </a:r>
            <a:r>
              <a:rPr lang="fr-fr" sz="1350" b="0" i="0" u="none" baseline="0" dirty="0">
                <a:cs typeface="Segoe UI"/>
              </a:rPr>
              <a:t>entreprise recourt à l</a:t>
            </a:r>
            <a:r>
              <a:rPr lang="fr-FR" sz="1350" b="0" i="0" u="none" baseline="0" dirty="0">
                <a:cs typeface="Segoe UI"/>
              </a:rPr>
              <a:t>’</a:t>
            </a:r>
            <a:r>
              <a:rPr lang="fr-fr" sz="1350" b="0" i="0" u="none" baseline="0" dirty="0">
                <a:cs typeface="Segoe UI"/>
              </a:rPr>
              <a:t>analyse des données pour ses opérations marketing auprès </a:t>
            </a:r>
            <a:br>
              <a:rPr lang="fr-fr" sz="1350" b="0" i="0" u="none" baseline="0" dirty="0"/>
            </a:br>
            <a:r>
              <a:rPr lang="fr-fr" sz="1350" b="0" i="0" u="none" baseline="0" dirty="0">
                <a:cs typeface="Segoe UI"/>
              </a:rPr>
              <a:t>de ses membres en s</a:t>
            </a:r>
            <a:r>
              <a:rPr lang="fr-FR" sz="1350" b="0" i="0" u="none" baseline="0" dirty="0">
                <a:cs typeface="Segoe UI"/>
              </a:rPr>
              <a:t>’</a:t>
            </a:r>
            <a:r>
              <a:rPr lang="fr-fr" sz="1350" b="0" i="0" u="none" baseline="0" dirty="0">
                <a:cs typeface="Segoe UI"/>
              </a:rPr>
              <a:t>appuyant Microsoft Dynamics 365 et Adobe Marketing Cloud hébergé sur Microsoft Azure, et personnalise ses messages marketing destinés aux millions de membres de ses plus de 400 centres de fitness américains. En liant les données de marketing et de vente, 24 </a:t>
            </a:r>
            <a:r>
              <a:rPr lang="fr-fr" sz="1350" b="0" i="0" u="none" baseline="0" dirty="0" err="1">
                <a:cs typeface="Segoe UI"/>
              </a:rPr>
              <a:t>Hour</a:t>
            </a:r>
            <a:r>
              <a:rPr lang="fr-fr" sz="1350" b="0" i="0" u="none" baseline="0" dirty="0">
                <a:cs typeface="Segoe UI"/>
              </a:rPr>
              <a:t> Fitness permet d</a:t>
            </a:r>
            <a:r>
              <a:rPr lang="fr-FR" sz="1350" b="0" i="0" u="none" baseline="0" dirty="0">
                <a:cs typeface="Segoe UI"/>
              </a:rPr>
              <a:t>’</a:t>
            </a:r>
            <a:r>
              <a:rPr lang="fr-fr" sz="1350" b="0" i="0" u="none" baseline="0" dirty="0">
                <a:cs typeface="Segoe UI"/>
              </a:rPr>
              <a:t>établir des contacts </a:t>
            </a:r>
            <a:br>
              <a:rPr lang="fr-fr" sz="1350" b="0" i="0" u="none" baseline="0" dirty="0"/>
            </a:br>
            <a:r>
              <a:rPr lang="fr-fr" sz="1350" b="0" i="0" u="none" baseline="0" dirty="0">
                <a:cs typeface="Segoe UI"/>
              </a:rPr>
              <a:t>par de nouveaux moyens attrayants, attire un nombre record de membres et aide davantage de personnes à atteindre leurs objectifs de remise en forme.</a:t>
            </a:r>
          </a:p>
        </p:txBody>
      </p:sp>
      <p:grpSp>
        <p:nvGrpSpPr>
          <p:cNvPr id="48" name="Group 47">
            <a:extLst>
              <a:ext uri="{FF2B5EF4-FFF2-40B4-BE49-F238E27FC236}">
                <a16:creationId xmlns:a16="http://schemas.microsoft.com/office/drawing/2014/main" id="{1E41E648-4F78-4EA0-9C52-54A822F777C1}"/>
              </a:ext>
            </a:extLst>
          </p:cNvPr>
          <p:cNvGrpSpPr/>
          <p:nvPr/>
        </p:nvGrpSpPr>
        <p:grpSpPr>
          <a:xfrm>
            <a:off x="4996244" y="3768725"/>
            <a:ext cx="154400" cy="438150"/>
            <a:chOff x="4996244" y="4029075"/>
            <a:chExt cx="154400" cy="438150"/>
          </a:xfrm>
        </p:grpSpPr>
        <p:sp>
          <p:nvSpPr>
            <p:cNvPr id="49" name="Oval 48">
              <a:extLst>
                <a:ext uri="{FF2B5EF4-FFF2-40B4-BE49-F238E27FC236}">
                  <a16:creationId xmlns:a16="http://schemas.microsoft.com/office/drawing/2014/main" id="{B8E753CC-563C-404F-A7A0-AEB28E6C571E}"/>
                </a:ext>
              </a:extLst>
            </p:cNvPr>
            <p:cNvSpPr/>
            <p:nvPr/>
          </p:nvSpPr>
          <p:spPr bwMode="auto">
            <a:xfrm>
              <a:off x="4996244" y="4170950"/>
              <a:ext cx="154400" cy="154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E21FF98C-956B-4699-9E69-0AFB65C31BF7}"/>
                </a:ext>
              </a:extLst>
            </p:cNvPr>
            <p:cNvCxnSpPr>
              <a:cxnSpLocks/>
            </p:cNvCxnSpPr>
            <p:nvPr/>
          </p:nvCxnSpPr>
          <p:spPr>
            <a:xfrm>
              <a:off x="5073445" y="4029075"/>
              <a:ext cx="0" cy="43815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1" name="Text Placeholder 11">
            <a:extLst>
              <a:ext uri="{FF2B5EF4-FFF2-40B4-BE49-F238E27FC236}">
                <a16:creationId xmlns:a16="http://schemas.microsoft.com/office/drawing/2014/main" id="{A5F974D8-0B42-4B7B-A81D-AEEA3FBCE027}"/>
              </a:ext>
            </a:extLst>
          </p:cNvPr>
          <p:cNvSpPr txBox="1">
            <a:spLocks/>
          </p:cNvSpPr>
          <p:nvPr/>
        </p:nvSpPr>
        <p:spPr>
          <a:xfrm>
            <a:off x="2788138"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Produits et services</a:t>
            </a:r>
            <a:endParaRPr lang="fr-fr" sz="900" dirty="0">
              <a:cs typeface="Segoe UI"/>
            </a:endParaRPr>
          </a:p>
          <a:p>
            <a:pPr marL="0" indent="0" algn="l" rtl="0">
              <a:spcBef>
                <a:spcPts val="100"/>
              </a:spcBef>
              <a:spcAft>
                <a:spcPts val="200"/>
              </a:spcAft>
              <a:buNone/>
            </a:pPr>
            <a:r>
              <a:rPr lang="fr-fr" sz="900" b="0" i="0" u="none" baseline="0" dirty="0">
                <a:cs typeface="Segoe UI"/>
              </a:rPr>
              <a:t>Dynamics 365 Customer Service</a:t>
            </a:r>
          </a:p>
          <a:p>
            <a:pPr marL="0" indent="0" algn="l" rtl="0">
              <a:spcBef>
                <a:spcPts val="100"/>
              </a:spcBef>
              <a:spcAft>
                <a:spcPts val="200"/>
              </a:spcAft>
              <a:buNone/>
            </a:pPr>
            <a:r>
              <a:rPr lang="fr-fr" sz="900" b="0" i="0" u="none" baseline="0" dirty="0">
                <a:cs typeface="Segoe UI"/>
              </a:rPr>
              <a:t>Dynamics 365 Sales</a:t>
            </a:r>
          </a:p>
          <a:p>
            <a:pPr marL="0" indent="0" algn="l" rtl="0">
              <a:spcBef>
                <a:spcPts val="100"/>
              </a:spcBef>
              <a:spcAft>
                <a:spcPts val="200"/>
              </a:spcAft>
              <a:buNone/>
            </a:pPr>
            <a:r>
              <a:rPr lang="fr-fr" sz="900" b="0" i="0" u="none" baseline="0" dirty="0">
                <a:cs typeface="Segoe UI"/>
              </a:rPr>
              <a:t>Adobe Marketing Cloud</a:t>
            </a:r>
          </a:p>
        </p:txBody>
      </p:sp>
      <p:sp>
        <p:nvSpPr>
          <p:cNvPr id="52" name="Text Placeholder 11">
            <a:extLst>
              <a:ext uri="{FF2B5EF4-FFF2-40B4-BE49-F238E27FC236}">
                <a16:creationId xmlns:a16="http://schemas.microsoft.com/office/drawing/2014/main" id="{7C847842-148F-44D3-84A1-B0BB4A110544}"/>
              </a:ext>
            </a:extLst>
          </p:cNvPr>
          <p:cNvSpPr txBox="1">
            <a:spLocks/>
          </p:cNvSpPr>
          <p:nvPr/>
        </p:nvSpPr>
        <p:spPr>
          <a:xfrm>
            <a:off x="4779502"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Taille de l</a:t>
            </a:r>
            <a:r>
              <a:rPr lang="fr-FR" sz="900" b="1" i="0" u="none" baseline="0" dirty="0">
                <a:latin typeface="Segoe UI Semibold"/>
                <a:cs typeface="Segoe UI"/>
              </a:rPr>
              <a:t>’</a:t>
            </a:r>
            <a:r>
              <a:rPr lang="fr-fr" sz="900" b="1" i="0" u="none" baseline="0" dirty="0">
                <a:latin typeface="Segoe UI Semibold"/>
                <a:cs typeface="Segoe UI"/>
              </a:rPr>
              <a:t>organisation</a:t>
            </a:r>
            <a:endParaRPr lang="fr-fr" sz="900" dirty="0">
              <a:cs typeface="Segoe UI"/>
            </a:endParaRPr>
          </a:p>
          <a:p>
            <a:pPr marL="0" indent="0" algn="l" rtl="0">
              <a:spcAft>
                <a:spcPts val="200"/>
              </a:spcAft>
              <a:buNone/>
            </a:pPr>
            <a:r>
              <a:rPr lang="fr-fr" sz="900" b="0" i="0" u="none" baseline="0" dirty="0">
                <a:cs typeface="Segoe UI"/>
              </a:rPr>
              <a:t>18 000 employés</a:t>
            </a:r>
          </a:p>
        </p:txBody>
      </p:sp>
      <p:sp>
        <p:nvSpPr>
          <p:cNvPr id="53" name="Text Placeholder 11">
            <a:extLst>
              <a:ext uri="{FF2B5EF4-FFF2-40B4-BE49-F238E27FC236}">
                <a16:creationId xmlns:a16="http://schemas.microsoft.com/office/drawing/2014/main" id="{17F63154-F394-4AFC-A0D3-6A119891036D}"/>
              </a:ext>
            </a:extLst>
          </p:cNvPr>
          <p:cNvSpPr txBox="1">
            <a:spLocks/>
          </p:cNvSpPr>
          <p:nvPr/>
        </p:nvSpPr>
        <p:spPr>
          <a:xfrm>
            <a:off x="6770866"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Secteur d</a:t>
            </a:r>
            <a:r>
              <a:rPr lang="fr-FR" sz="900" b="1" i="0" u="none" baseline="0" dirty="0">
                <a:latin typeface="Segoe UI Semibold"/>
                <a:cs typeface="Segoe UI"/>
              </a:rPr>
              <a:t>’</a:t>
            </a:r>
            <a:r>
              <a:rPr lang="fr-fr" sz="900" b="1" i="0" u="none" baseline="0" dirty="0">
                <a:latin typeface="Segoe UI Semibold"/>
                <a:cs typeface="Segoe UI"/>
              </a:rPr>
              <a:t>activité</a:t>
            </a:r>
            <a:endParaRPr lang="fr-fr" sz="900" dirty="0">
              <a:cs typeface="Segoe UI"/>
            </a:endParaRPr>
          </a:p>
          <a:p>
            <a:pPr marL="0" indent="0" algn="l" rtl="0">
              <a:spcAft>
                <a:spcPts val="200"/>
              </a:spcAft>
              <a:buNone/>
            </a:pPr>
            <a:r>
              <a:rPr lang="fr-fr" sz="900" b="0" i="0" u="none" baseline="0" dirty="0">
                <a:cs typeface="Segoe UI"/>
              </a:rPr>
              <a:t>Détaillant</a:t>
            </a:r>
          </a:p>
        </p:txBody>
      </p:sp>
      <p:sp>
        <p:nvSpPr>
          <p:cNvPr id="54" name="Text Placeholder 11">
            <a:extLst>
              <a:ext uri="{FF2B5EF4-FFF2-40B4-BE49-F238E27FC236}">
                <a16:creationId xmlns:a16="http://schemas.microsoft.com/office/drawing/2014/main" id="{95D8F139-F76F-49C8-AB5D-D2356B37086C}"/>
              </a:ext>
            </a:extLst>
          </p:cNvPr>
          <p:cNvSpPr txBox="1">
            <a:spLocks/>
          </p:cNvSpPr>
          <p:nvPr/>
        </p:nvSpPr>
        <p:spPr>
          <a:xfrm>
            <a:off x="8762230"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Pays</a:t>
            </a:r>
            <a:endParaRPr lang="fr-fr" sz="900" dirty="0">
              <a:cs typeface="Segoe UI"/>
            </a:endParaRPr>
          </a:p>
          <a:p>
            <a:pPr marL="0" indent="0" algn="l" rtl="0">
              <a:spcAft>
                <a:spcPts val="200"/>
              </a:spcAft>
              <a:buNone/>
            </a:pPr>
            <a:r>
              <a:rPr lang="fr-fr" sz="900" b="0" i="0" u="none" baseline="0" dirty="0">
                <a:cs typeface="Segoe UI"/>
              </a:rPr>
              <a:t>États-Unis</a:t>
            </a:r>
          </a:p>
        </p:txBody>
      </p:sp>
      <p:cxnSp>
        <p:nvCxnSpPr>
          <p:cNvPr id="55" name="Straight Connector 54">
            <a:extLst>
              <a:ext uri="{FF2B5EF4-FFF2-40B4-BE49-F238E27FC236}">
                <a16:creationId xmlns:a16="http://schemas.microsoft.com/office/drawing/2014/main" id="{8A8360D0-AA32-43F0-8ECA-B2CB1FBEA697}"/>
              </a:ext>
            </a:extLst>
          </p:cNvPr>
          <p:cNvCxnSpPr>
            <a:cxnSpLocks/>
          </p:cNvCxnSpPr>
          <p:nvPr/>
        </p:nvCxnSpPr>
        <p:spPr>
          <a:xfrm>
            <a:off x="4670195"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11C097C-FE22-4C50-A786-D5C2353B52D5}"/>
              </a:ext>
            </a:extLst>
          </p:cNvPr>
          <p:cNvCxnSpPr>
            <a:cxnSpLocks/>
          </p:cNvCxnSpPr>
          <p:nvPr/>
        </p:nvCxnSpPr>
        <p:spPr>
          <a:xfrm>
            <a:off x="6661559"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AEEFADB-2766-497F-BD27-45E8BC7D0C1E}"/>
              </a:ext>
            </a:extLst>
          </p:cNvPr>
          <p:cNvCxnSpPr>
            <a:cxnSpLocks/>
          </p:cNvCxnSpPr>
          <p:nvPr/>
        </p:nvCxnSpPr>
        <p:spPr>
          <a:xfrm>
            <a:off x="8652923"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220E3FA6-BC0F-463F-9DC5-05E9511F239D}"/>
              </a:ext>
            </a:extLst>
          </p:cNvPr>
          <p:cNvSpPr/>
          <p:nvPr/>
        </p:nvSpPr>
        <p:spPr bwMode="auto">
          <a:xfrm rot="10800000" flipH="1" flipV="1">
            <a:off x="11043858" y="5852770"/>
            <a:ext cx="698990" cy="6989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59" name="Graphic 58">
            <a:extLst>
              <a:ext uri="{FF2B5EF4-FFF2-40B4-BE49-F238E27FC236}">
                <a16:creationId xmlns:a16="http://schemas.microsoft.com/office/drawing/2014/main" id="{AF9CE6A3-A1EC-490E-86A8-538FD516D12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9037" y="5927949"/>
            <a:ext cx="548632" cy="548632"/>
          </a:xfrm>
          <a:prstGeom prst="rect">
            <a:avLst/>
          </a:prstGeom>
        </p:spPr>
      </p:pic>
      <p:pic>
        <p:nvPicPr>
          <p:cNvPr id="63" name="Picture 62">
            <a:extLst>
              <a:ext uri="{FF2B5EF4-FFF2-40B4-BE49-F238E27FC236}">
                <a16:creationId xmlns:a16="http://schemas.microsoft.com/office/drawing/2014/main" id="{BDF66581-1CFD-4785-96F0-ADD54F11A625}"/>
              </a:ext>
            </a:extLst>
          </p:cNvPr>
          <p:cNvPicPr>
            <a:picLocks noChangeAspect="1"/>
          </p:cNvPicPr>
          <p:nvPr/>
        </p:nvPicPr>
        <p:blipFill rotWithShape="1">
          <a:blip r:embed="rId6">
            <a:extLst>
              <a:ext uri="{28A0092B-C50C-407E-A947-70E740481C1C}">
                <a14:useLocalDpi xmlns:a14="http://schemas.microsoft.com/office/drawing/2010/main" val="0"/>
              </a:ext>
            </a:extLst>
          </a:blip>
          <a:srcRect l="7270" t="10316" r="6153" b="10947"/>
          <a:stretch/>
        </p:blipFill>
        <p:spPr>
          <a:xfrm>
            <a:off x="584200" y="6202265"/>
            <a:ext cx="1636188" cy="382638"/>
          </a:xfrm>
          <a:prstGeom prst="rect">
            <a:avLst/>
          </a:prstGeom>
        </p:spPr>
      </p:pic>
      <p:sp>
        <p:nvSpPr>
          <p:cNvPr id="36" name="Rectangle 35">
            <a:extLst>
              <a:ext uri="{FF2B5EF4-FFF2-40B4-BE49-F238E27FC236}">
                <a16:creationId xmlns:a16="http://schemas.microsoft.com/office/drawing/2014/main" id="{7E6C34CA-D0A8-4FA9-8E9B-C31F5690C283}"/>
              </a:ext>
            </a:extLst>
          </p:cNvPr>
          <p:cNvSpPr/>
          <p:nvPr/>
        </p:nvSpPr>
        <p:spPr bwMode="auto">
          <a:xfrm>
            <a:off x="11761779" y="1010127"/>
            <a:ext cx="674695" cy="20175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1483363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 name="Picture 78">
            <a:extLst>
              <a:ext uri="{FF2B5EF4-FFF2-40B4-BE49-F238E27FC236}">
                <a16:creationId xmlns:a16="http://schemas.microsoft.com/office/drawing/2014/main" id="{0FD0CBF5-8882-49AE-B139-19A7C1E38B19}"/>
              </a:ext>
            </a:extLst>
          </p:cNvPr>
          <p:cNvPicPr>
            <a:picLocks noChangeAspect="1"/>
          </p:cNvPicPr>
          <p:nvPr/>
        </p:nvPicPr>
        <p:blipFill rotWithShape="1">
          <a:blip r:embed="rId3">
            <a:extLst>
              <a:ext uri="{28A0092B-C50C-407E-A947-70E740481C1C}">
                <a14:useLocalDpi xmlns:a14="http://schemas.microsoft.com/office/drawing/2010/main" val="0"/>
              </a:ext>
            </a:extLst>
          </a:blip>
          <a:srcRect l="1182" t="22593" r="537" b="45070"/>
          <a:stretch/>
        </p:blipFill>
        <p:spPr>
          <a:xfrm>
            <a:off x="5073445" y="478631"/>
            <a:ext cx="6688342" cy="3080544"/>
          </a:xfrm>
          <a:custGeom>
            <a:avLst/>
            <a:gdLst>
              <a:gd name="connsiteX0" fmla="*/ 0 w 6688342"/>
              <a:gd name="connsiteY0" fmla="*/ 0 h 3080544"/>
              <a:gd name="connsiteX1" fmla="*/ 6688342 w 6688342"/>
              <a:gd name="connsiteY1" fmla="*/ 0 h 3080544"/>
              <a:gd name="connsiteX2" fmla="*/ 6688342 w 6688342"/>
              <a:gd name="connsiteY2" fmla="*/ 3080544 h 3080544"/>
              <a:gd name="connsiteX3" fmla="*/ 0 w 6688342"/>
              <a:gd name="connsiteY3" fmla="*/ 3080544 h 3080544"/>
            </a:gdLst>
            <a:ahLst/>
            <a:cxnLst>
              <a:cxn ang="0">
                <a:pos x="connsiteX0" y="connsiteY0"/>
              </a:cxn>
              <a:cxn ang="0">
                <a:pos x="connsiteX1" y="connsiteY1"/>
              </a:cxn>
              <a:cxn ang="0">
                <a:pos x="connsiteX2" y="connsiteY2"/>
              </a:cxn>
              <a:cxn ang="0">
                <a:pos x="connsiteX3" y="connsiteY3"/>
              </a:cxn>
            </a:cxnLst>
            <a:rect l="l" t="t" r="r" b="b"/>
            <a:pathLst>
              <a:path w="6688342" h="3080544">
                <a:moveTo>
                  <a:pt x="0" y="0"/>
                </a:moveTo>
                <a:lnTo>
                  <a:pt x="6688342" y="0"/>
                </a:lnTo>
                <a:lnTo>
                  <a:pt x="6688342" y="3080544"/>
                </a:lnTo>
                <a:lnTo>
                  <a:pt x="0" y="3080544"/>
                </a:lnTo>
                <a:close/>
              </a:path>
            </a:pathLst>
          </a:custGeom>
        </p:spPr>
      </p:pic>
      <p:sp>
        <p:nvSpPr>
          <p:cNvPr id="37" name="Freeform: Shape 36">
            <a:extLst>
              <a:ext uri="{FF2B5EF4-FFF2-40B4-BE49-F238E27FC236}">
                <a16:creationId xmlns:a16="http://schemas.microsoft.com/office/drawing/2014/main" id="{39FF92CA-4275-4EFB-8488-CDCDB7DB47AF}"/>
              </a:ext>
            </a:extLst>
          </p:cNvPr>
          <p:cNvSpPr/>
          <p:nvPr/>
        </p:nvSpPr>
        <p:spPr bwMode="auto">
          <a:xfrm flipH="1" flipV="1">
            <a:off x="-1" y="3340555"/>
            <a:ext cx="4771769" cy="218620"/>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sp>
        <p:nvSpPr>
          <p:cNvPr id="42" name="Freeform: Shape 41">
            <a:extLst>
              <a:ext uri="{FF2B5EF4-FFF2-40B4-BE49-F238E27FC236}">
                <a16:creationId xmlns:a16="http://schemas.microsoft.com/office/drawing/2014/main" id="{9FB6FAB5-30D2-4C30-B020-C9B72FD441DA}"/>
              </a:ext>
            </a:extLst>
          </p:cNvPr>
          <p:cNvSpPr/>
          <p:nvPr/>
        </p:nvSpPr>
        <p:spPr bwMode="auto">
          <a:xfrm>
            <a:off x="584201" y="1138609"/>
            <a:ext cx="4317999" cy="2117811"/>
          </a:xfrm>
          <a:custGeom>
            <a:avLst/>
            <a:gdLst>
              <a:gd name="connsiteX0" fmla="*/ 0 w 12191998"/>
              <a:gd name="connsiteY0" fmla="*/ 0 h 1691640"/>
              <a:gd name="connsiteX1" fmla="*/ 12191998 w 12191998"/>
              <a:gd name="connsiteY1" fmla="*/ 0 h 1691640"/>
              <a:gd name="connsiteX2" fmla="*/ 12191998 w 12191998"/>
              <a:gd name="connsiteY2" fmla="*/ 1691640 h 1691640"/>
              <a:gd name="connsiteX3" fmla="*/ 0 w 12191998"/>
              <a:gd name="connsiteY3" fmla="*/ 1691640 h 1691640"/>
              <a:gd name="connsiteX4" fmla="*/ 0 w 12191998"/>
              <a:gd name="connsiteY4" fmla="*/ 0 h 1691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98" h="1691640">
                <a:moveTo>
                  <a:pt x="0" y="0"/>
                </a:moveTo>
                <a:lnTo>
                  <a:pt x="12191998" y="0"/>
                </a:lnTo>
                <a:lnTo>
                  <a:pt x="12191998" y="1691640"/>
                </a:lnTo>
                <a:lnTo>
                  <a:pt x="0" y="1691640"/>
                </a:lnTo>
                <a:lnTo>
                  <a:pt x="0" y="0"/>
                </a:ln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l" rtl="0">
              <a:defRPr/>
            </a:pPr>
            <a:r>
              <a:rPr lang="fr-fr" sz="1800" b="0" i="1" u="none" baseline="0" dirty="0">
                <a:solidFill>
                  <a:schemeClr val="tx1"/>
                </a:solidFill>
              </a:rPr>
              <a:t>Avec la solution combinant Microsoft </a:t>
            </a:r>
            <a:br>
              <a:rPr lang="fr-fr" sz="1800" b="0" i="1" u="none" baseline="0" dirty="0">
                <a:solidFill>
                  <a:schemeClr val="tx1"/>
                </a:solidFill>
              </a:rPr>
            </a:br>
            <a:r>
              <a:rPr lang="fr-fr" sz="1800" b="0" i="1" u="none" baseline="0" dirty="0">
                <a:solidFill>
                  <a:schemeClr val="tx1"/>
                </a:solidFill>
              </a:rPr>
              <a:t>et LinkedIn , nous pouvons stimuler et responsabiliser notre équipe commerciale et raccourcir le cycle de vente.</a:t>
            </a:r>
            <a:endParaRPr lang="fr-fr" sz="1800" b="0" i="1" u="none" baseline="0" dirty="0">
              <a:solidFill>
                <a:schemeClr val="tx1"/>
              </a:solidFill>
              <a:cs typeface="Segoe UI"/>
            </a:endParaRPr>
          </a:p>
          <a:p>
            <a:pPr lvl="0" algn="l" rtl="0">
              <a:spcBef>
                <a:spcPts val="600"/>
              </a:spcBef>
              <a:defRPr/>
            </a:pPr>
            <a:r>
              <a:rPr lang="fr-fr" sz="2000" b="0" i="0" u="none" baseline="0" dirty="0">
                <a:solidFill>
                  <a:schemeClr val="tx2"/>
                </a:solidFill>
                <a:latin typeface="+mj-lt"/>
              </a:rPr>
              <a:t>Jennifer Deutsch</a:t>
            </a:r>
            <a:br>
              <a:rPr lang="fr-fr" sz="2000" dirty="0">
                <a:solidFill>
                  <a:schemeClr val="tx2"/>
                </a:solidFill>
                <a:latin typeface="+mj-lt"/>
              </a:rPr>
            </a:br>
            <a:r>
              <a:rPr lang="fr-fr" sz="1350" b="0" i="0" u="none" baseline="0" dirty="0">
                <a:solidFill>
                  <a:schemeClr val="tx2"/>
                </a:solidFill>
              </a:rPr>
              <a:t>Chief Marketing </a:t>
            </a:r>
            <a:r>
              <a:rPr lang="fr-fr" sz="1350" b="0" i="0" u="none" baseline="0" dirty="0" err="1">
                <a:solidFill>
                  <a:schemeClr val="tx2"/>
                </a:solidFill>
              </a:rPr>
              <a:t>Officer</a:t>
            </a:r>
            <a:br>
              <a:rPr lang="fr-fr" sz="1350" dirty="0">
                <a:solidFill>
                  <a:schemeClr val="tx2"/>
                </a:solidFill>
              </a:rPr>
            </a:br>
            <a:r>
              <a:rPr lang="fr-fr" sz="1350" b="0" i="0" u="none" baseline="0" dirty="0">
                <a:solidFill>
                  <a:schemeClr val="tx2"/>
                </a:solidFill>
              </a:rPr>
              <a:t>Park Place Technologies</a:t>
            </a:r>
            <a:endParaRPr lang="fr-fr" sz="1350" b="0" i="0" u="none" baseline="0" dirty="0">
              <a:solidFill>
                <a:schemeClr val="tx2"/>
              </a:solidFill>
              <a:cs typeface="Segoe UI"/>
            </a:endParaRPr>
          </a:p>
        </p:txBody>
      </p:sp>
      <p:sp>
        <p:nvSpPr>
          <p:cNvPr id="43" name="Freeform: Shape 42">
            <a:extLst>
              <a:ext uri="{FF2B5EF4-FFF2-40B4-BE49-F238E27FC236}">
                <a16:creationId xmlns:a16="http://schemas.microsoft.com/office/drawing/2014/main" id="{1EBFE7C9-B2E7-43B9-BA48-65A42EDA560C}"/>
              </a:ext>
            </a:extLst>
          </p:cNvPr>
          <p:cNvSpPr/>
          <p:nvPr/>
        </p:nvSpPr>
        <p:spPr bwMode="auto">
          <a:xfrm>
            <a:off x="783445" y="478631"/>
            <a:ext cx="4223529" cy="463550"/>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44" name="Group 43">
            <a:extLst>
              <a:ext uri="{FF2B5EF4-FFF2-40B4-BE49-F238E27FC236}">
                <a16:creationId xmlns:a16="http://schemas.microsoft.com/office/drawing/2014/main" id="{80FA6488-D0CA-4B1A-8970-055471316AE5}"/>
              </a:ext>
            </a:extLst>
          </p:cNvPr>
          <p:cNvGrpSpPr/>
          <p:nvPr/>
        </p:nvGrpSpPr>
        <p:grpSpPr>
          <a:xfrm>
            <a:off x="584200" y="670486"/>
            <a:ext cx="371160" cy="371160"/>
            <a:chOff x="490380" y="1113631"/>
            <a:chExt cx="766762" cy="766762"/>
          </a:xfrm>
        </p:grpSpPr>
        <p:sp>
          <p:nvSpPr>
            <p:cNvPr id="45" name="Oval 44">
              <a:extLst>
                <a:ext uri="{FF2B5EF4-FFF2-40B4-BE49-F238E27FC236}">
                  <a16:creationId xmlns:a16="http://schemas.microsoft.com/office/drawing/2014/main" id="{71DF2126-C705-4B36-A13B-DF9BB38F2B4A}"/>
                </a:ext>
              </a:extLst>
            </p:cNvPr>
            <p:cNvSpPr/>
            <p:nvPr/>
          </p:nvSpPr>
          <p:spPr bwMode="auto">
            <a:xfrm>
              <a:off x="490380" y="1113631"/>
              <a:ext cx="766762" cy="76676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46" name="Graphic 12">
              <a:extLst>
                <a:ext uri="{FF2B5EF4-FFF2-40B4-BE49-F238E27FC236}">
                  <a16:creationId xmlns:a16="http://schemas.microsoft.com/office/drawing/2014/main" id="{B7BA441C-1875-42B9-AFAE-0F937D8E32C7}"/>
                </a:ext>
              </a:extLst>
            </p:cNvPr>
            <p:cNvGrpSpPr/>
            <p:nvPr/>
          </p:nvGrpSpPr>
          <p:grpSpPr>
            <a:xfrm flipH="1">
              <a:off x="619660" y="1318684"/>
              <a:ext cx="508202" cy="356656"/>
              <a:chOff x="5753695" y="3190875"/>
              <a:chExt cx="669726" cy="470014"/>
            </a:xfrm>
            <a:solidFill>
              <a:schemeClr val="bg1"/>
            </a:solidFill>
          </p:grpSpPr>
          <p:sp>
            <p:nvSpPr>
              <p:cNvPr id="47" name="Freeform: Shape 46">
                <a:extLst>
                  <a:ext uri="{FF2B5EF4-FFF2-40B4-BE49-F238E27FC236}">
                    <a16:creationId xmlns:a16="http://schemas.microsoft.com/office/drawing/2014/main" id="{50EBC4C3-E710-4C7F-B8E3-D6A8379ACF85}"/>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48" name="Freeform: Shape 47">
                <a:extLst>
                  <a:ext uri="{FF2B5EF4-FFF2-40B4-BE49-F238E27FC236}">
                    <a16:creationId xmlns:a16="http://schemas.microsoft.com/office/drawing/2014/main" id="{FCF01738-FC91-4F07-80D8-2F6838B9876C}"/>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grpSp>
      <p:grpSp>
        <p:nvGrpSpPr>
          <p:cNvPr id="49" name="Group 48">
            <a:extLst>
              <a:ext uri="{FF2B5EF4-FFF2-40B4-BE49-F238E27FC236}">
                <a16:creationId xmlns:a16="http://schemas.microsoft.com/office/drawing/2014/main" id="{37E45C2E-59DC-4293-850A-5CB14D9F590C}"/>
              </a:ext>
            </a:extLst>
          </p:cNvPr>
          <p:cNvGrpSpPr/>
          <p:nvPr/>
        </p:nvGrpSpPr>
        <p:grpSpPr>
          <a:xfrm flipH="1" flipV="1">
            <a:off x="4572522" y="3012623"/>
            <a:ext cx="371160" cy="371160"/>
            <a:chOff x="490380" y="1113631"/>
            <a:chExt cx="766762" cy="766762"/>
          </a:xfrm>
        </p:grpSpPr>
        <p:sp>
          <p:nvSpPr>
            <p:cNvPr id="50" name="Oval 49">
              <a:extLst>
                <a:ext uri="{FF2B5EF4-FFF2-40B4-BE49-F238E27FC236}">
                  <a16:creationId xmlns:a16="http://schemas.microsoft.com/office/drawing/2014/main" id="{04ED0AAF-7E6A-47E7-91DF-605AE7CB11B0}"/>
                </a:ext>
              </a:extLst>
            </p:cNvPr>
            <p:cNvSpPr/>
            <p:nvPr/>
          </p:nvSpPr>
          <p:spPr bwMode="auto">
            <a:xfrm>
              <a:off x="490380" y="1113631"/>
              <a:ext cx="766762" cy="76676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51" name="Graphic 12">
              <a:extLst>
                <a:ext uri="{FF2B5EF4-FFF2-40B4-BE49-F238E27FC236}">
                  <a16:creationId xmlns:a16="http://schemas.microsoft.com/office/drawing/2014/main" id="{5A008F13-F463-47FF-A334-33C39D4EE85B}"/>
                </a:ext>
              </a:extLst>
            </p:cNvPr>
            <p:cNvGrpSpPr/>
            <p:nvPr/>
          </p:nvGrpSpPr>
          <p:grpSpPr>
            <a:xfrm flipH="1">
              <a:off x="619660" y="1318684"/>
              <a:ext cx="508202" cy="356656"/>
              <a:chOff x="5753695" y="3190875"/>
              <a:chExt cx="669726" cy="470014"/>
            </a:xfrm>
            <a:solidFill>
              <a:schemeClr val="bg1"/>
            </a:solidFill>
          </p:grpSpPr>
          <p:sp>
            <p:nvSpPr>
              <p:cNvPr id="52" name="Freeform: Shape 51">
                <a:extLst>
                  <a:ext uri="{FF2B5EF4-FFF2-40B4-BE49-F238E27FC236}">
                    <a16:creationId xmlns:a16="http://schemas.microsoft.com/office/drawing/2014/main" id="{53790321-DDBD-46F7-A893-A0F8FE3AECA0}"/>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53" name="Freeform: Shape 52">
                <a:extLst>
                  <a:ext uri="{FF2B5EF4-FFF2-40B4-BE49-F238E27FC236}">
                    <a16:creationId xmlns:a16="http://schemas.microsoft.com/office/drawing/2014/main" id="{0083F9D1-D832-4B58-B6E9-94356C7B7529}"/>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grpSp>
      <p:cxnSp>
        <p:nvCxnSpPr>
          <p:cNvPr id="54" name="Straight Connector 53">
            <a:extLst>
              <a:ext uri="{FF2B5EF4-FFF2-40B4-BE49-F238E27FC236}">
                <a16:creationId xmlns:a16="http://schemas.microsoft.com/office/drawing/2014/main" id="{A2A8BBF4-684A-45F9-B32F-6944883D93AF}"/>
              </a:ext>
            </a:extLst>
          </p:cNvPr>
          <p:cNvCxnSpPr>
            <a:cxnSpLocks/>
          </p:cNvCxnSpPr>
          <p:nvPr/>
        </p:nvCxnSpPr>
        <p:spPr>
          <a:xfrm>
            <a:off x="5008563" y="478631"/>
            <a:ext cx="0" cy="3080544"/>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5" name="Title 7">
            <a:extLst>
              <a:ext uri="{FF2B5EF4-FFF2-40B4-BE49-F238E27FC236}">
                <a16:creationId xmlns:a16="http://schemas.microsoft.com/office/drawing/2014/main" id="{A3F0621D-FD42-4A2F-92DB-401DFAA0E6A5}"/>
              </a:ext>
            </a:extLst>
          </p:cNvPr>
          <p:cNvSpPr txBox="1">
            <a:spLocks/>
          </p:cNvSpPr>
          <p:nvPr/>
        </p:nvSpPr>
        <p:spPr>
          <a:xfrm>
            <a:off x="-1" y="3683000"/>
            <a:ext cx="4943476" cy="2261826"/>
          </a:xfrm>
          <a:prstGeom prst="rect">
            <a:avLst/>
          </a:prstGeom>
          <a:solidFill>
            <a:schemeClr val="tx2"/>
          </a:solidFill>
        </p:spPr>
        <p:txBody>
          <a:bodyPr vert="horz" wrap="square" lIns="594360" tIns="38100" rIns="88900" bIns="38100" rtlCol="0" anchor="ctr">
            <a:noAutofit/>
          </a:bodyPr>
          <a:lstStyle>
            <a:lvl1pPr algn="l" defTabSz="932742" rtl="0" eaLnBrk="1" latinLnBrk="0" hangingPunct="1">
              <a:lnSpc>
                <a:spcPct val="100000"/>
              </a:lnSpc>
              <a:spcBef>
                <a:spcPct val="0"/>
              </a:spcBef>
              <a:buNone/>
              <a:defRPr lang="fr-fr" sz="3600" b="0" kern="1200" cap="none" spc="-50" baseline="0" dirty="0" smtClean="0">
                <a:ln w="3175">
                  <a:noFill/>
                </a:ln>
                <a:solidFill>
                  <a:schemeClr val="tx1"/>
                </a:solidFill>
                <a:effectLst/>
                <a:latin typeface="+mj-lt"/>
                <a:ea typeface="+mn-ea"/>
                <a:cs typeface="Segoe UI" pitchFamily="34" charset="0"/>
              </a:defRPr>
            </a:lvl1pPr>
          </a:lstStyle>
          <a:p>
            <a:pPr algn="l" rtl="0">
              <a:spcBef>
                <a:spcPts val="0"/>
              </a:spcBef>
            </a:pPr>
            <a:r>
              <a:rPr lang="fr-fr" sz="2000" b="0" i="0" u="none" spc="0" baseline="0" dirty="0">
                <a:solidFill>
                  <a:schemeClr val="bg1"/>
                </a:solidFill>
                <a:cs typeface="Segoe UI"/>
              </a:rPr>
              <a:t>Le fournisseur mondial de services de maintenance de matériel informatique stimule son équipe commerciale avec des processus </a:t>
            </a:r>
            <a:br>
              <a:rPr lang="fr-fr" sz="2000" b="0" i="0" u="none" spc="0" baseline="0" dirty="0"/>
            </a:br>
            <a:r>
              <a:rPr lang="fr-fr" sz="2000" b="0" i="0" u="none" spc="0" baseline="0" dirty="0">
                <a:solidFill>
                  <a:schemeClr val="bg1"/>
                </a:solidFill>
                <a:cs typeface="Segoe UI"/>
              </a:rPr>
              <a:t>de vente basés sur la relation client</a:t>
            </a:r>
          </a:p>
        </p:txBody>
      </p:sp>
      <p:sp>
        <p:nvSpPr>
          <p:cNvPr id="56" name="Freeform: Shape 55">
            <a:extLst>
              <a:ext uri="{FF2B5EF4-FFF2-40B4-BE49-F238E27FC236}">
                <a16:creationId xmlns:a16="http://schemas.microsoft.com/office/drawing/2014/main" id="{8C78AAD3-DA78-4547-8123-3CFBA76EFB89}"/>
              </a:ext>
            </a:extLst>
          </p:cNvPr>
          <p:cNvSpPr/>
          <p:nvPr/>
        </p:nvSpPr>
        <p:spPr bwMode="auto">
          <a:xfrm>
            <a:off x="5073445" y="3683000"/>
            <a:ext cx="6688334" cy="2261826"/>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sp>
        <p:nvSpPr>
          <p:cNvPr id="57" name="Text Placeholder 8">
            <a:extLst>
              <a:ext uri="{FF2B5EF4-FFF2-40B4-BE49-F238E27FC236}">
                <a16:creationId xmlns:a16="http://schemas.microsoft.com/office/drawing/2014/main" id="{5C41EBA1-5309-464F-AE70-B9852D97078D}"/>
              </a:ext>
            </a:extLst>
          </p:cNvPr>
          <p:cNvSpPr txBox="1">
            <a:spLocks/>
          </p:cNvSpPr>
          <p:nvPr/>
        </p:nvSpPr>
        <p:spPr>
          <a:xfrm>
            <a:off x="5286375" y="3745865"/>
            <a:ext cx="6475411" cy="2113236"/>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rtl="0">
              <a:spcBef>
                <a:spcPts val="0"/>
              </a:spcBef>
              <a:spcAft>
                <a:spcPts val="600"/>
              </a:spcAft>
              <a:buClr>
                <a:schemeClr val="tx2"/>
              </a:buClr>
              <a:buSzPct val="100000"/>
              <a:buNone/>
            </a:pPr>
            <a:r>
              <a:rPr lang="fr-fr" sz="1400" b="0" i="0" u="none" baseline="0" dirty="0">
                <a:cs typeface="Segoe UI"/>
              </a:rPr>
              <a:t>Quand Park Place Technologies a étendu son activité de maintenance de matériel informatique au niveau mondial, son chiffre d</a:t>
            </a:r>
            <a:r>
              <a:rPr lang="fr-FR" sz="1400" b="0" i="0" u="none" baseline="0" dirty="0">
                <a:cs typeface="Segoe UI"/>
              </a:rPr>
              <a:t>’</a:t>
            </a:r>
            <a:r>
              <a:rPr lang="fr-fr" sz="1400" b="0" i="0" u="none" baseline="0" dirty="0">
                <a:cs typeface="Segoe UI"/>
              </a:rPr>
              <a:t>affaires a explosé, les contrats sont devenus plus importants et plus complexes, et les systèmes en interne ont eu du mal à suivre. L</a:t>
            </a:r>
            <a:r>
              <a:rPr lang="fr-FR" sz="1400" b="0" i="0" u="none" baseline="0" dirty="0">
                <a:cs typeface="Segoe UI"/>
              </a:rPr>
              <a:t>’</a:t>
            </a:r>
            <a:r>
              <a:rPr lang="fr-fr" sz="1400" b="0" i="0" u="none" baseline="0" dirty="0">
                <a:cs typeface="Segoe UI"/>
              </a:rPr>
              <a:t>entreprise a eu recours à Microsoft Dynamics 365 pour préparer l</a:t>
            </a:r>
            <a:r>
              <a:rPr lang="fr-FR" sz="1400" b="0" i="0" u="none" baseline="0" dirty="0">
                <a:cs typeface="Segoe UI"/>
              </a:rPr>
              <a:t>’</a:t>
            </a:r>
            <a:r>
              <a:rPr lang="fr-fr" sz="1400" b="0" i="0" u="none" baseline="0" dirty="0">
                <a:cs typeface="Segoe UI"/>
              </a:rPr>
              <a:t>avenir avec des outils modulaires de vente, de marketing et financiers. L</a:t>
            </a:r>
            <a:r>
              <a:rPr lang="fr-FR" sz="1400" b="0" i="0" u="none" baseline="0" dirty="0">
                <a:cs typeface="Segoe UI"/>
              </a:rPr>
              <a:t>’</a:t>
            </a:r>
            <a:r>
              <a:rPr lang="fr-fr" sz="1400" b="0" i="0" u="none" baseline="0" dirty="0">
                <a:cs typeface="Segoe UI"/>
              </a:rPr>
              <a:t>utilisation de Dynamics 365 for Sales et LinkedIn Sales Navigator facilite le travail des vendeurs de Park Place Technologies avec des processus de vente basés sur </a:t>
            </a:r>
            <a:br>
              <a:rPr lang="fr-fr" sz="1400" b="0" i="0" u="none" baseline="0" dirty="0"/>
            </a:br>
            <a:r>
              <a:rPr lang="fr-fr" sz="1400" b="0" i="0" u="none" baseline="0" dirty="0">
                <a:cs typeface="Segoe UI"/>
              </a:rPr>
              <a:t>la relation client, et bientôt des échanges personnalisés à grande échelle.</a:t>
            </a:r>
          </a:p>
        </p:txBody>
      </p:sp>
      <p:grpSp>
        <p:nvGrpSpPr>
          <p:cNvPr id="58" name="Group 57">
            <a:extLst>
              <a:ext uri="{FF2B5EF4-FFF2-40B4-BE49-F238E27FC236}">
                <a16:creationId xmlns:a16="http://schemas.microsoft.com/office/drawing/2014/main" id="{4BBBC806-712D-4ABF-886D-59E165F1DC1F}"/>
              </a:ext>
            </a:extLst>
          </p:cNvPr>
          <p:cNvGrpSpPr/>
          <p:nvPr/>
        </p:nvGrpSpPr>
        <p:grpSpPr>
          <a:xfrm>
            <a:off x="4996244" y="3768725"/>
            <a:ext cx="154400" cy="438150"/>
            <a:chOff x="4996244" y="4029075"/>
            <a:chExt cx="154400" cy="438150"/>
          </a:xfrm>
        </p:grpSpPr>
        <p:sp>
          <p:nvSpPr>
            <p:cNvPr id="59" name="Oval 58">
              <a:extLst>
                <a:ext uri="{FF2B5EF4-FFF2-40B4-BE49-F238E27FC236}">
                  <a16:creationId xmlns:a16="http://schemas.microsoft.com/office/drawing/2014/main" id="{395A4FB8-63B3-4D93-B2EA-DF39C0C2A89F}"/>
                </a:ext>
              </a:extLst>
            </p:cNvPr>
            <p:cNvSpPr/>
            <p:nvPr/>
          </p:nvSpPr>
          <p:spPr bwMode="auto">
            <a:xfrm>
              <a:off x="4996244" y="4170950"/>
              <a:ext cx="154400" cy="154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4844C644-D59D-47E4-AEAD-6FF3C0856B79}"/>
                </a:ext>
              </a:extLst>
            </p:cNvPr>
            <p:cNvCxnSpPr>
              <a:cxnSpLocks/>
            </p:cNvCxnSpPr>
            <p:nvPr/>
          </p:nvCxnSpPr>
          <p:spPr>
            <a:xfrm>
              <a:off x="5073445" y="4029075"/>
              <a:ext cx="0" cy="43815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8" name="Text Placeholder 11">
            <a:extLst>
              <a:ext uri="{FF2B5EF4-FFF2-40B4-BE49-F238E27FC236}">
                <a16:creationId xmlns:a16="http://schemas.microsoft.com/office/drawing/2014/main" id="{6742FC15-B3F3-457D-83F5-8F5E4DD72669}"/>
              </a:ext>
            </a:extLst>
          </p:cNvPr>
          <p:cNvSpPr txBox="1">
            <a:spLocks/>
          </p:cNvSpPr>
          <p:nvPr/>
        </p:nvSpPr>
        <p:spPr>
          <a:xfrm>
            <a:off x="2788138"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Produits et services</a:t>
            </a:r>
            <a:endParaRPr lang="fr-fr" sz="900" dirty="0">
              <a:cs typeface="Segoe UI"/>
            </a:endParaRPr>
          </a:p>
          <a:p>
            <a:pPr marL="0" indent="0" algn="l" rtl="0">
              <a:spcBef>
                <a:spcPts val="100"/>
              </a:spcBef>
              <a:spcAft>
                <a:spcPts val="200"/>
              </a:spcAft>
              <a:buNone/>
            </a:pPr>
            <a:r>
              <a:rPr lang="fr-fr" sz="900" b="0" i="0" u="none" baseline="0" dirty="0">
                <a:cs typeface="Segoe UI"/>
              </a:rPr>
              <a:t>Dynamics 365 for Sales</a:t>
            </a:r>
          </a:p>
        </p:txBody>
      </p:sp>
      <p:sp>
        <p:nvSpPr>
          <p:cNvPr id="69" name="Text Placeholder 11">
            <a:extLst>
              <a:ext uri="{FF2B5EF4-FFF2-40B4-BE49-F238E27FC236}">
                <a16:creationId xmlns:a16="http://schemas.microsoft.com/office/drawing/2014/main" id="{D9038CDF-0AC2-4D1D-8C8A-2426DE5779DA}"/>
              </a:ext>
            </a:extLst>
          </p:cNvPr>
          <p:cNvSpPr txBox="1">
            <a:spLocks/>
          </p:cNvSpPr>
          <p:nvPr/>
        </p:nvSpPr>
        <p:spPr>
          <a:xfrm>
            <a:off x="4779502"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Taille de l</a:t>
            </a:r>
            <a:r>
              <a:rPr lang="fr-FR" sz="900" b="1" i="0" u="none" baseline="0" dirty="0">
                <a:latin typeface="Segoe UI Semibold"/>
                <a:cs typeface="Segoe UI"/>
              </a:rPr>
              <a:t>’</a:t>
            </a:r>
            <a:r>
              <a:rPr lang="fr-fr" sz="900" b="1" i="0" u="none" baseline="0" dirty="0">
                <a:latin typeface="Segoe UI Semibold"/>
                <a:cs typeface="Segoe UI"/>
              </a:rPr>
              <a:t>organisation</a:t>
            </a:r>
            <a:endParaRPr lang="fr-fr" sz="900" dirty="0">
              <a:cs typeface="Segoe UI"/>
            </a:endParaRPr>
          </a:p>
          <a:p>
            <a:pPr marL="0" indent="0" algn="l" rtl="0">
              <a:spcAft>
                <a:spcPts val="200"/>
              </a:spcAft>
              <a:buNone/>
            </a:pPr>
            <a:r>
              <a:rPr lang="fr-fr" sz="900" b="0" i="0" u="none" baseline="0" dirty="0">
                <a:cs typeface="Segoe UI"/>
              </a:rPr>
              <a:t>Grande entreprise (1000 - 9999 employés)</a:t>
            </a:r>
          </a:p>
        </p:txBody>
      </p:sp>
      <p:sp>
        <p:nvSpPr>
          <p:cNvPr id="70" name="Text Placeholder 11">
            <a:extLst>
              <a:ext uri="{FF2B5EF4-FFF2-40B4-BE49-F238E27FC236}">
                <a16:creationId xmlns:a16="http://schemas.microsoft.com/office/drawing/2014/main" id="{B9D74C0A-9075-4A7F-BED3-B3A55DE3BD58}"/>
              </a:ext>
            </a:extLst>
          </p:cNvPr>
          <p:cNvSpPr txBox="1">
            <a:spLocks/>
          </p:cNvSpPr>
          <p:nvPr/>
        </p:nvSpPr>
        <p:spPr>
          <a:xfrm>
            <a:off x="6770866"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Secteur d</a:t>
            </a:r>
            <a:r>
              <a:rPr lang="fr-FR" sz="900" b="1" i="0" u="none" baseline="0" dirty="0">
                <a:latin typeface="Segoe UI Semibold"/>
                <a:cs typeface="Segoe UI"/>
              </a:rPr>
              <a:t>’</a:t>
            </a:r>
            <a:r>
              <a:rPr lang="fr-fr" sz="900" b="1" i="0" u="none" baseline="0" dirty="0">
                <a:latin typeface="Segoe UI Semibold"/>
                <a:cs typeface="Segoe UI"/>
              </a:rPr>
              <a:t>activité</a:t>
            </a:r>
            <a:endParaRPr lang="fr-fr" sz="900" dirty="0">
              <a:cs typeface="Segoe UI"/>
            </a:endParaRPr>
          </a:p>
          <a:p>
            <a:pPr marL="0" indent="0" algn="l" rtl="0">
              <a:spcAft>
                <a:spcPts val="200"/>
              </a:spcAft>
              <a:buNone/>
            </a:pPr>
            <a:r>
              <a:rPr lang="fr-fr" sz="900" b="0" i="0" u="none" baseline="0" dirty="0">
                <a:cs typeface="Segoe UI"/>
              </a:rPr>
              <a:t>Services professionnels partenaires</a:t>
            </a:r>
          </a:p>
        </p:txBody>
      </p:sp>
      <p:sp>
        <p:nvSpPr>
          <p:cNvPr id="71" name="Text Placeholder 11">
            <a:extLst>
              <a:ext uri="{FF2B5EF4-FFF2-40B4-BE49-F238E27FC236}">
                <a16:creationId xmlns:a16="http://schemas.microsoft.com/office/drawing/2014/main" id="{B1B28BB0-5028-4580-9719-DD3AC996FB8C}"/>
              </a:ext>
            </a:extLst>
          </p:cNvPr>
          <p:cNvSpPr txBox="1">
            <a:spLocks/>
          </p:cNvSpPr>
          <p:nvPr/>
        </p:nvSpPr>
        <p:spPr>
          <a:xfrm>
            <a:off x="8762230" y="6071731"/>
            <a:ext cx="1772750" cy="652856"/>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Aft>
                <a:spcPts val="200"/>
              </a:spcAft>
              <a:buNone/>
            </a:pPr>
            <a:r>
              <a:rPr lang="fr-fr" sz="900" b="1" i="0" u="none" baseline="0" dirty="0">
                <a:latin typeface="Segoe UI Semibold"/>
                <a:cs typeface="Segoe UI"/>
              </a:rPr>
              <a:t>Pays</a:t>
            </a:r>
            <a:endParaRPr lang="fr-fr" sz="900" dirty="0">
              <a:cs typeface="Segoe UI"/>
            </a:endParaRPr>
          </a:p>
          <a:p>
            <a:pPr marL="0" indent="0" algn="l" rtl="0">
              <a:spcAft>
                <a:spcPts val="200"/>
              </a:spcAft>
              <a:buNone/>
            </a:pPr>
            <a:r>
              <a:rPr lang="fr-fr" sz="900" b="0" i="0" u="none" baseline="0" dirty="0">
                <a:cs typeface="Segoe UI"/>
              </a:rPr>
              <a:t>États-Unis</a:t>
            </a:r>
          </a:p>
        </p:txBody>
      </p:sp>
      <p:cxnSp>
        <p:nvCxnSpPr>
          <p:cNvPr id="72" name="Straight Connector 71">
            <a:extLst>
              <a:ext uri="{FF2B5EF4-FFF2-40B4-BE49-F238E27FC236}">
                <a16:creationId xmlns:a16="http://schemas.microsoft.com/office/drawing/2014/main" id="{8339EEBA-D3AE-4CF9-B0EF-29EAECADD6D2}"/>
              </a:ext>
            </a:extLst>
          </p:cNvPr>
          <p:cNvCxnSpPr>
            <a:cxnSpLocks/>
          </p:cNvCxnSpPr>
          <p:nvPr/>
        </p:nvCxnSpPr>
        <p:spPr>
          <a:xfrm>
            <a:off x="4670195"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F31CC26-9AB1-40A0-A3F2-701474F37CFD}"/>
              </a:ext>
            </a:extLst>
          </p:cNvPr>
          <p:cNvCxnSpPr>
            <a:cxnSpLocks/>
          </p:cNvCxnSpPr>
          <p:nvPr/>
        </p:nvCxnSpPr>
        <p:spPr>
          <a:xfrm>
            <a:off x="6661559"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AD86743-CD9F-4747-98D8-8DCA989121CC}"/>
              </a:ext>
            </a:extLst>
          </p:cNvPr>
          <p:cNvCxnSpPr>
            <a:cxnSpLocks/>
          </p:cNvCxnSpPr>
          <p:nvPr/>
        </p:nvCxnSpPr>
        <p:spPr>
          <a:xfrm>
            <a:off x="8652923" y="6071731"/>
            <a:ext cx="0" cy="652856"/>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58BEB5A5-8BB9-4570-9A83-7008CD28F1CF}"/>
              </a:ext>
            </a:extLst>
          </p:cNvPr>
          <p:cNvSpPr/>
          <p:nvPr/>
        </p:nvSpPr>
        <p:spPr bwMode="auto">
          <a:xfrm rot="10800000" flipH="1" flipV="1">
            <a:off x="11043858" y="5852770"/>
            <a:ext cx="698990" cy="6989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76" name="Graphic 75">
            <a:extLst>
              <a:ext uri="{FF2B5EF4-FFF2-40B4-BE49-F238E27FC236}">
                <a16:creationId xmlns:a16="http://schemas.microsoft.com/office/drawing/2014/main" id="{9AD094C5-5E5B-481D-96B1-2F92A8D6BC2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9037" y="5927949"/>
            <a:ext cx="548632" cy="548632"/>
          </a:xfrm>
          <a:prstGeom prst="rect">
            <a:avLst/>
          </a:prstGeom>
        </p:spPr>
      </p:pic>
      <p:pic>
        <p:nvPicPr>
          <p:cNvPr id="77" name="Picture 76" descr="http://www.parkplacetechnologies.com/wp-content/themes/ppt_v2/images/parkplace-technologies@2x.png">
            <a:extLst>
              <a:ext uri="{FF2B5EF4-FFF2-40B4-BE49-F238E27FC236}">
                <a16:creationId xmlns:a16="http://schemas.microsoft.com/office/drawing/2014/main" id="{1CB837B5-B13C-4346-8D75-6562C87308D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4201" y="6182397"/>
            <a:ext cx="1828800" cy="393214"/>
          </a:xfrm>
          <a:prstGeom prst="rect">
            <a:avLst/>
          </a:prstGeom>
          <a:noFill/>
          <a:ln>
            <a:noFill/>
          </a:ln>
        </p:spPr>
      </p:pic>
      <p:sp>
        <p:nvSpPr>
          <p:cNvPr id="33" name="Rectangle 32">
            <a:extLst>
              <a:ext uri="{FF2B5EF4-FFF2-40B4-BE49-F238E27FC236}">
                <a16:creationId xmlns:a16="http://schemas.microsoft.com/office/drawing/2014/main" id="{32498328-7051-424D-B48F-6F3B2162824E}"/>
              </a:ext>
            </a:extLst>
          </p:cNvPr>
          <p:cNvSpPr/>
          <p:nvPr/>
        </p:nvSpPr>
        <p:spPr bwMode="auto">
          <a:xfrm>
            <a:off x="11761779" y="1010127"/>
            <a:ext cx="674695" cy="20175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440206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64A4E6-3ADF-4330-B9ED-41343B65D763}"/>
              </a:ext>
            </a:extLst>
          </p:cNvPr>
          <p:cNvSpPr>
            <a:spLocks noGrp="1"/>
          </p:cNvSpPr>
          <p:nvPr>
            <p:ph type="title"/>
          </p:nvPr>
        </p:nvSpPr>
        <p:spPr/>
        <p:txBody>
          <a:bodyPr/>
          <a:lstStyle/>
          <a:p>
            <a:pPr algn="l" rtl="0"/>
            <a:r>
              <a:rPr lang="fr-fr" sz="3650" b="0" i="0" u="none" baseline="0" dirty="0">
                <a:cs typeface="Segoe UI"/>
              </a:rPr>
              <a:t>Microsoft Relationship Sales</a:t>
            </a:r>
          </a:p>
        </p:txBody>
      </p:sp>
    </p:spTree>
    <p:extLst>
      <p:ext uri="{BB962C8B-B14F-4D97-AF65-F5344CB8AC3E}">
        <p14:creationId xmlns:p14="http://schemas.microsoft.com/office/powerpoint/2010/main" val="176310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1E3FF-65BD-42CA-9071-AD9830C7931A}"/>
              </a:ext>
            </a:extLst>
          </p:cNvPr>
          <p:cNvGraphicFramePr>
            <a:graphicFrameLocks noChangeAspect="1"/>
          </p:cNvGraphicFramePr>
          <p:nvPr>
            <p:custDataLst>
              <p:tags r:id="rId2"/>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spid="_x0000_s2113" name="think-cell Slide" r:id="rId6" imgW="425" imgH="424" progId="TCLayout.ActiveDocument.1">
                  <p:embed/>
                </p:oleObj>
              </mc:Choice>
              <mc:Fallback>
                <p:oleObj name="think-cell Slide" r:id="rId6" imgW="425" imgH="424" progId="TCLayout.ActiveDocument.1">
                  <p:embed/>
                  <p:pic>
                    <p:nvPicPr>
                      <p:cNvPr id="2" name="Object 1" hidden="1">
                        <a:extLst>
                          <a:ext uri="{FF2B5EF4-FFF2-40B4-BE49-F238E27FC236}">
                            <a16:creationId xmlns:a16="http://schemas.microsoft.com/office/drawing/2014/main" id="{48D1E3FF-65BD-42CA-9071-AD9830C7931A}"/>
                          </a:ext>
                        </a:extLst>
                      </p:cNvPr>
                      <p:cNvPicPr/>
                      <p:nvPr/>
                    </p:nvPicPr>
                    <p:blipFill>
                      <a:blip r:embed="rId7"/>
                      <a:stretch>
                        <a:fillRect/>
                      </a:stretch>
                    </p:blipFill>
                    <p:spPr>
                      <a:xfrm>
                        <a:off x="3382" y="2115"/>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F5B5F8-6410-43F8-9925-10E7E5B183B7}"/>
              </a:ext>
            </a:extLst>
          </p:cNvPr>
          <p:cNvSpPr/>
          <p:nvPr>
            <p:custDataLst>
              <p:tags r:id="rId3"/>
            </p:custDataLst>
          </p:nvPr>
        </p:nvSpPr>
        <p:spPr bwMode="auto">
          <a:xfrm>
            <a:off x="883" y="49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98" name="Content Placeholder 2">
            <a:extLst>
              <a:ext uri="{FF2B5EF4-FFF2-40B4-BE49-F238E27FC236}">
                <a16:creationId xmlns:a16="http://schemas.microsoft.com/office/drawing/2014/main" id="{7C452DAB-0B9C-495A-991D-CB016AD47334}"/>
              </a:ext>
            </a:extLst>
          </p:cNvPr>
          <p:cNvSpPr txBox="1">
            <a:spLocks/>
          </p:cNvSpPr>
          <p:nvPr/>
        </p:nvSpPr>
        <p:spPr>
          <a:xfrm>
            <a:off x="8290814" y="3543537"/>
            <a:ext cx="3715353" cy="2163995"/>
          </a:xfrm>
          <a:prstGeom prst="rect">
            <a:avLst/>
          </a:prstGeom>
        </p:spPr>
        <p:txBody>
          <a:bodyPr vert="horz" lIns="93247" tIns="46623" rIns="93247" bIns="46623"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191" rtl="0">
              <a:lnSpc>
                <a:spcPct val="100000"/>
              </a:lnSpc>
              <a:spcBef>
                <a:spcPts val="600"/>
              </a:spcBef>
              <a:buSzPct val="90000"/>
              <a:buNone/>
              <a:defRPr/>
            </a:pPr>
            <a:r>
              <a:rPr lang="fr-fr" sz="2000" b="0" i="0" u="none" baseline="0" dirty="0">
                <a:solidFill>
                  <a:srgbClr val="008272"/>
                </a:solidFill>
                <a:latin typeface="Segoe UI Semibold"/>
              </a:rPr>
              <a:t>Réduisez le </a:t>
            </a:r>
            <a:br>
              <a:rPr lang="fr-fr" sz="2000" b="0" i="0" u="none" baseline="0" dirty="0">
                <a:latin typeface="Segoe UI Semibold"/>
              </a:rPr>
            </a:br>
            <a:r>
              <a:rPr lang="fr-fr" sz="2000" b="0" i="0" u="none" baseline="0" dirty="0">
                <a:solidFill>
                  <a:srgbClr val="008272"/>
                </a:solidFill>
                <a:latin typeface="Segoe UI Semibold"/>
              </a:rPr>
              <a:t>coût des ventes</a:t>
            </a:r>
            <a:endParaRPr lang="fr-fr" sz="2000" b="0" i="0" u="none" baseline="0" dirty="0">
              <a:solidFill>
                <a:srgbClr val="008272"/>
              </a:solidFill>
              <a:latin typeface="Segoe UI Semibold"/>
              <a:cs typeface="Segoe UI Semibold"/>
            </a:endParaRPr>
          </a:p>
        </p:txBody>
      </p:sp>
      <p:cxnSp>
        <p:nvCxnSpPr>
          <p:cNvPr id="94" name="Straight Connector 93">
            <a:extLst>
              <a:ext uri="{FF2B5EF4-FFF2-40B4-BE49-F238E27FC236}">
                <a16:creationId xmlns:a16="http://schemas.microsoft.com/office/drawing/2014/main" id="{6E857931-BA54-4370-8F05-338CE652774C}"/>
              </a:ext>
            </a:extLst>
          </p:cNvPr>
          <p:cNvCxnSpPr/>
          <p:nvPr/>
        </p:nvCxnSpPr>
        <p:spPr>
          <a:xfrm>
            <a:off x="4264687" y="2328272"/>
            <a:ext cx="0" cy="1958467"/>
          </a:xfrm>
          <a:prstGeom prst="line">
            <a:avLst/>
          </a:prstGeom>
          <a:noFill/>
          <a:ln w="6350" cap="flat" cmpd="sng" algn="ctr">
            <a:solidFill>
              <a:srgbClr val="FFFFFF">
                <a:lumMod val="75000"/>
              </a:srgbClr>
            </a:solidFill>
            <a:prstDash val="solid"/>
            <a:headEnd type="none"/>
            <a:tailEnd type="none"/>
          </a:ln>
          <a:effectLst/>
        </p:spPr>
      </p:cxnSp>
      <p:cxnSp>
        <p:nvCxnSpPr>
          <p:cNvPr id="95" name="Straight Connector 94">
            <a:extLst>
              <a:ext uri="{FF2B5EF4-FFF2-40B4-BE49-F238E27FC236}">
                <a16:creationId xmlns:a16="http://schemas.microsoft.com/office/drawing/2014/main" id="{11419C0E-808F-4494-AA53-C3E0526F7390}"/>
              </a:ext>
            </a:extLst>
          </p:cNvPr>
          <p:cNvCxnSpPr/>
          <p:nvPr/>
        </p:nvCxnSpPr>
        <p:spPr>
          <a:xfrm>
            <a:off x="8187222" y="2328272"/>
            <a:ext cx="0" cy="1958467"/>
          </a:xfrm>
          <a:prstGeom prst="line">
            <a:avLst/>
          </a:prstGeom>
          <a:noFill/>
          <a:ln w="6350" cap="flat" cmpd="sng" algn="ctr">
            <a:solidFill>
              <a:srgbClr val="FFFFFF">
                <a:lumMod val="75000"/>
              </a:srgbClr>
            </a:solidFill>
            <a:prstDash val="solid"/>
            <a:headEnd type="none"/>
            <a:tailEnd type="none"/>
          </a:ln>
          <a:effectLst/>
        </p:spPr>
      </p:cxnSp>
      <p:sp>
        <p:nvSpPr>
          <p:cNvPr id="96" name="Content Placeholder 2">
            <a:extLst>
              <a:ext uri="{FF2B5EF4-FFF2-40B4-BE49-F238E27FC236}">
                <a16:creationId xmlns:a16="http://schemas.microsoft.com/office/drawing/2014/main" id="{D5DF723B-85CE-466F-8C4E-83DED5C5BC9E}"/>
              </a:ext>
            </a:extLst>
          </p:cNvPr>
          <p:cNvSpPr txBox="1">
            <a:spLocks/>
          </p:cNvSpPr>
          <p:nvPr/>
        </p:nvSpPr>
        <p:spPr>
          <a:xfrm>
            <a:off x="445743" y="3543537"/>
            <a:ext cx="3715353" cy="2163995"/>
          </a:xfrm>
          <a:prstGeom prst="rect">
            <a:avLst/>
          </a:prstGeom>
        </p:spPr>
        <p:txBody>
          <a:bodyPr anchor="t">
            <a:no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2563" rtl="0">
              <a:lnSpc>
                <a:spcPct val="100000"/>
              </a:lnSpc>
              <a:spcBef>
                <a:spcPts val="600"/>
              </a:spcBef>
              <a:defRPr/>
            </a:pPr>
            <a:r>
              <a:rPr lang="fr-fr" sz="2000" b="0" i="0" u="none" baseline="0" dirty="0">
                <a:solidFill>
                  <a:srgbClr val="008272"/>
                </a:solidFill>
                <a:latin typeface="Segoe UI Semibold"/>
              </a:rPr>
              <a:t>Identifiez la cible</a:t>
            </a:r>
            <a:endParaRPr lang="fr-fr" sz="2000" b="0" i="0" u="none" baseline="0" dirty="0">
              <a:solidFill>
                <a:srgbClr val="008272"/>
              </a:solidFill>
              <a:latin typeface="Segoe UI Semibold"/>
              <a:cs typeface="Segoe UI Semibold"/>
            </a:endParaRPr>
          </a:p>
        </p:txBody>
      </p:sp>
      <p:sp>
        <p:nvSpPr>
          <p:cNvPr id="97" name="Content Placeholder 2">
            <a:extLst>
              <a:ext uri="{FF2B5EF4-FFF2-40B4-BE49-F238E27FC236}">
                <a16:creationId xmlns:a16="http://schemas.microsoft.com/office/drawing/2014/main" id="{85B6D0E2-8706-43D6-9451-833620BB2954}"/>
              </a:ext>
            </a:extLst>
          </p:cNvPr>
          <p:cNvSpPr txBox="1">
            <a:spLocks/>
          </p:cNvSpPr>
          <p:nvPr/>
        </p:nvSpPr>
        <p:spPr>
          <a:xfrm>
            <a:off x="4368278" y="3543537"/>
            <a:ext cx="3715353" cy="2163995"/>
          </a:xfrm>
          <a:prstGeom prst="rect">
            <a:avLst/>
          </a:prstGeom>
        </p:spPr>
        <p:txBody>
          <a:bodyPr vert="horz" lIns="93247" tIns="46623" rIns="93247" bIns="46623"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191" rtl="0">
              <a:lnSpc>
                <a:spcPct val="100000"/>
              </a:lnSpc>
              <a:spcBef>
                <a:spcPts val="600"/>
              </a:spcBef>
              <a:buSzPct val="90000"/>
              <a:buNone/>
              <a:defRPr/>
            </a:pPr>
            <a:r>
              <a:rPr lang="fr-fr" sz="2000" b="0" i="0" u="none" baseline="0" dirty="0">
                <a:solidFill>
                  <a:srgbClr val="008272"/>
                </a:solidFill>
                <a:latin typeface="Segoe UI Semibold"/>
              </a:rPr>
              <a:t>Restez en lien avec </a:t>
            </a:r>
            <a:br>
              <a:rPr lang="fr-fr" sz="2000" dirty="0">
                <a:latin typeface="Segoe UI Semibold"/>
              </a:rPr>
            </a:br>
            <a:r>
              <a:rPr lang="fr-fr" sz="2000" b="0" i="0" u="none" baseline="0" dirty="0">
                <a:solidFill>
                  <a:srgbClr val="008272"/>
                </a:solidFill>
                <a:latin typeface="Segoe UI Semibold"/>
              </a:rPr>
              <a:t>vos clients</a:t>
            </a:r>
            <a:endParaRPr lang="fr-fr" sz="2000" b="0" i="0" u="none" baseline="0" dirty="0">
              <a:solidFill>
                <a:srgbClr val="008272"/>
              </a:solidFill>
              <a:latin typeface="Segoe UI Semibold"/>
              <a:cs typeface="Segoe UI Semibold"/>
            </a:endParaRPr>
          </a:p>
        </p:txBody>
      </p:sp>
      <p:sp>
        <p:nvSpPr>
          <p:cNvPr id="4" name="Title 3">
            <a:extLst>
              <a:ext uri="{FF2B5EF4-FFF2-40B4-BE49-F238E27FC236}">
                <a16:creationId xmlns:a16="http://schemas.microsoft.com/office/drawing/2014/main" id="{EA2C955B-89B0-48F4-8E80-1D8B023B771D}"/>
              </a:ext>
            </a:extLst>
          </p:cNvPr>
          <p:cNvSpPr>
            <a:spLocks noGrp="1"/>
          </p:cNvSpPr>
          <p:nvPr>
            <p:ph type="title"/>
          </p:nvPr>
        </p:nvSpPr>
        <p:spPr/>
        <p:txBody>
          <a:bodyPr/>
          <a:lstStyle/>
          <a:p>
            <a:pPr algn="l" rtl="0"/>
            <a:r>
              <a:rPr lang="fr-fr" sz="2850" b="0" i="0" u="none" baseline="0" dirty="0">
                <a:cs typeface="Segoe UI"/>
              </a:rPr>
              <a:t>Microsoft Relationship Sales</a:t>
            </a:r>
          </a:p>
        </p:txBody>
      </p:sp>
      <p:grpSp>
        <p:nvGrpSpPr>
          <p:cNvPr id="5" name="Group 4">
            <a:extLst>
              <a:ext uri="{FF2B5EF4-FFF2-40B4-BE49-F238E27FC236}">
                <a16:creationId xmlns:a16="http://schemas.microsoft.com/office/drawing/2014/main" id="{C452D7C9-8720-43B7-8F5A-B4DE7F89C7BD}"/>
              </a:ext>
            </a:extLst>
          </p:cNvPr>
          <p:cNvGrpSpPr/>
          <p:nvPr/>
        </p:nvGrpSpPr>
        <p:grpSpPr>
          <a:xfrm>
            <a:off x="9358137" y="1998455"/>
            <a:ext cx="1426403" cy="1334812"/>
            <a:chOff x="5397487" y="754565"/>
            <a:chExt cx="1174001" cy="1098620"/>
          </a:xfrm>
        </p:grpSpPr>
        <p:sp>
          <p:nvSpPr>
            <p:cNvPr id="20" name="Hexagon 37">
              <a:extLst>
                <a:ext uri="{FF2B5EF4-FFF2-40B4-BE49-F238E27FC236}">
                  <a16:creationId xmlns:a16="http://schemas.microsoft.com/office/drawing/2014/main" id="{13372E2C-242A-45F3-AD68-F04F5266D891}"/>
                </a:ext>
              </a:extLst>
            </p:cNvPr>
            <p:cNvSpPr/>
            <p:nvPr/>
          </p:nvSpPr>
          <p:spPr bwMode="auto">
            <a:xfrm>
              <a:off x="5571744" y="754565"/>
              <a:ext cx="999744" cy="1098620"/>
            </a:xfrm>
            <a:custGeom>
              <a:avLst/>
              <a:gdLst>
                <a:gd name="connsiteX0" fmla="*/ 0 w 1060704"/>
                <a:gd name="connsiteY0" fmla="*/ 457200 h 914400"/>
                <a:gd name="connsiteX1" fmla="*/ 228600 w 1060704"/>
                <a:gd name="connsiteY1" fmla="*/ 0 h 914400"/>
                <a:gd name="connsiteX2" fmla="*/ 832104 w 1060704"/>
                <a:gd name="connsiteY2" fmla="*/ 0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6" fmla="*/ 320040 w 1060704"/>
                <a:gd name="connsiteY6" fmla="*/ 9144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0" fmla="*/ 0 w 832104"/>
                <a:gd name="connsiteY0" fmla="*/ 0 h 914400"/>
                <a:gd name="connsiteX1" fmla="*/ 603504 w 832104"/>
                <a:gd name="connsiteY1" fmla="*/ 0 h 914400"/>
                <a:gd name="connsiteX2" fmla="*/ 832104 w 832104"/>
                <a:gd name="connsiteY2" fmla="*/ 457200 h 914400"/>
                <a:gd name="connsiteX3" fmla="*/ 603504 w 832104"/>
                <a:gd name="connsiteY3" fmla="*/ 914400 h 914400"/>
                <a:gd name="connsiteX4" fmla="*/ 0 w 832104"/>
                <a:gd name="connsiteY4" fmla="*/ 914400 h 914400"/>
                <a:gd name="connsiteX0" fmla="*/ 603504 w 832104"/>
                <a:gd name="connsiteY0" fmla="*/ 0 h 914400"/>
                <a:gd name="connsiteX1" fmla="*/ 832104 w 832104"/>
                <a:gd name="connsiteY1" fmla="*/ 457200 h 914400"/>
                <a:gd name="connsiteX2" fmla="*/ 603504 w 832104"/>
                <a:gd name="connsiteY2" fmla="*/ 914400 h 914400"/>
                <a:gd name="connsiteX3" fmla="*/ 0 w 83210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832104" h="914400">
                  <a:moveTo>
                    <a:pt x="603504" y="0"/>
                  </a:moveTo>
                  <a:lnTo>
                    <a:pt x="832104" y="457200"/>
                  </a:lnTo>
                  <a:lnTo>
                    <a:pt x="603504" y="914400"/>
                  </a:lnTo>
                  <a:lnTo>
                    <a:pt x="0" y="914400"/>
                  </a:lnTo>
                </a:path>
              </a:pathLst>
            </a:custGeom>
            <a:noFill/>
            <a:ln w="0" cap="flat" cmpd="sng" algn="ctr">
              <a:solidFill>
                <a:schemeClr val="accent5"/>
              </a:solid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rtl="0" fontAlgn="base">
                <a:lnSpc>
                  <a:spcPct val="90000"/>
                </a:lnSpc>
                <a:spcBef>
                  <a:spcPct val="0"/>
                </a:spcBef>
                <a:spcAft>
                  <a:spcPct val="0"/>
                </a:spcAft>
                <a:defRPr/>
              </a:pPr>
              <a:endParaRPr lang="fr-fr"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D21EE6C6-F161-4974-A316-421594A23550}"/>
                </a:ext>
              </a:extLst>
            </p:cNvPr>
            <p:cNvSpPr/>
            <p:nvPr/>
          </p:nvSpPr>
          <p:spPr bwMode="auto">
            <a:xfrm>
              <a:off x="5397487" y="846675"/>
              <a:ext cx="1060704" cy="914400"/>
            </a:xfrm>
            <a:prstGeom prst="hexagon">
              <a:avLst/>
            </a:prstGeom>
            <a:solidFill>
              <a:srgbClr val="FFFFFF"/>
            </a:solidFill>
            <a:ln w="0" cap="flat" cmpd="sng" algn="ctr">
              <a:solidFill>
                <a:schemeClr val="tx2"/>
              </a:solidFill>
              <a:prstDash val="solid"/>
              <a:headEnd type="none" w="med" len="med"/>
              <a:tailEnd type="none" w="med" len="med"/>
            </a:ln>
            <a:effectLst>
              <a:outerShdw blurRad="25400" dist="12700" dir="2700000" algn="tl" rotWithShape="0">
                <a:srgbClr val="FFFFFF">
                  <a:lumMod val="75000"/>
                  <a:alpha val="40000"/>
                </a:srgbClr>
              </a:outerShdw>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rtl="0" fontAlgn="base">
                <a:lnSpc>
                  <a:spcPct val="90000"/>
                </a:lnSpc>
                <a:spcBef>
                  <a:spcPct val="0"/>
                </a:spcBef>
                <a:spcAft>
                  <a:spcPct val="0"/>
                </a:spcAft>
                <a:defRPr/>
              </a:pPr>
              <a:endParaRPr lang="fr-fr"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5F14CC3E-648D-4EC9-8B51-5130788198F0}"/>
              </a:ext>
            </a:extLst>
          </p:cNvPr>
          <p:cNvGrpSpPr/>
          <p:nvPr/>
        </p:nvGrpSpPr>
        <p:grpSpPr>
          <a:xfrm>
            <a:off x="5467697" y="1998455"/>
            <a:ext cx="1426405" cy="1334812"/>
            <a:chOff x="5397485" y="754565"/>
            <a:chExt cx="1174003" cy="1098620"/>
          </a:xfrm>
        </p:grpSpPr>
        <p:sp>
          <p:nvSpPr>
            <p:cNvPr id="24" name="Hexagon 37">
              <a:extLst>
                <a:ext uri="{FF2B5EF4-FFF2-40B4-BE49-F238E27FC236}">
                  <a16:creationId xmlns:a16="http://schemas.microsoft.com/office/drawing/2014/main" id="{89500CB4-3A5C-4AD4-BA26-FAD5F303FB84}"/>
                </a:ext>
              </a:extLst>
            </p:cNvPr>
            <p:cNvSpPr/>
            <p:nvPr/>
          </p:nvSpPr>
          <p:spPr bwMode="auto">
            <a:xfrm>
              <a:off x="5571744" y="754565"/>
              <a:ext cx="999744" cy="1098620"/>
            </a:xfrm>
            <a:custGeom>
              <a:avLst/>
              <a:gdLst>
                <a:gd name="connsiteX0" fmla="*/ 0 w 1060704"/>
                <a:gd name="connsiteY0" fmla="*/ 457200 h 914400"/>
                <a:gd name="connsiteX1" fmla="*/ 228600 w 1060704"/>
                <a:gd name="connsiteY1" fmla="*/ 0 h 914400"/>
                <a:gd name="connsiteX2" fmla="*/ 832104 w 1060704"/>
                <a:gd name="connsiteY2" fmla="*/ 0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6" fmla="*/ 320040 w 1060704"/>
                <a:gd name="connsiteY6" fmla="*/ 9144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0" fmla="*/ 0 w 832104"/>
                <a:gd name="connsiteY0" fmla="*/ 0 h 914400"/>
                <a:gd name="connsiteX1" fmla="*/ 603504 w 832104"/>
                <a:gd name="connsiteY1" fmla="*/ 0 h 914400"/>
                <a:gd name="connsiteX2" fmla="*/ 832104 w 832104"/>
                <a:gd name="connsiteY2" fmla="*/ 457200 h 914400"/>
                <a:gd name="connsiteX3" fmla="*/ 603504 w 832104"/>
                <a:gd name="connsiteY3" fmla="*/ 914400 h 914400"/>
                <a:gd name="connsiteX4" fmla="*/ 0 w 832104"/>
                <a:gd name="connsiteY4" fmla="*/ 914400 h 914400"/>
                <a:gd name="connsiteX0" fmla="*/ 603504 w 832104"/>
                <a:gd name="connsiteY0" fmla="*/ 0 h 914400"/>
                <a:gd name="connsiteX1" fmla="*/ 832104 w 832104"/>
                <a:gd name="connsiteY1" fmla="*/ 457200 h 914400"/>
                <a:gd name="connsiteX2" fmla="*/ 603504 w 832104"/>
                <a:gd name="connsiteY2" fmla="*/ 914400 h 914400"/>
                <a:gd name="connsiteX3" fmla="*/ 0 w 83210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832104" h="914400">
                  <a:moveTo>
                    <a:pt x="603504" y="0"/>
                  </a:moveTo>
                  <a:lnTo>
                    <a:pt x="832104" y="457200"/>
                  </a:lnTo>
                  <a:lnTo>
                    <a:pt x="603504" y="914400"/>
                  </a:lnTo>
                  <a:lnTo>
                    <a:pt x="0" y="914400"/>
                  </a:lnTo>
                </a:path>
              </a:pathLst>
            </a:custGeom>
            <a:noFill/>
            <a:ln w="0" cap="flat" cmpd="sng" algn="ctr">
              <a:solidFill>
                <a:schemeClr val="accent5"/>
              </a:solid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rtl="0" fontAlgn="base">
                <a:lnSpc>
                  <a:spcPct val="90000"/>
                </a:lnSpc>
                <a:spcBef>
                  <a:spcPct val="0"/>
                </a:spcBef>
                <a:spcAft>
                  <a:spcPct val="0"/>
                </a:spcAft>
                <a:defRPr/>
              </a:pPr>
              <a:endParaRPr lang="fr-fr"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CBA17FCE-AFE5-4D78-84C3-6F531CA44502}"/>
                </a:ext>
              </a:extLst>
            </p:cNvPr>
            <p:cNvSpPr/>
            <p:nvPr/>
          </p:nvSpPr>
          <p:spPr bwMode="auto">
            <a:xfrm>
              <a:off x="5397485" y="846675"/>
              <a:ext cx="1060704" cy="914400"/>
            </a:xfrm>
            <a:prstGeom prst="hexagon">
              <a:avLst/>
            </a:prstGeom>
            <a:solidFill>
              <a:srgbClr val="FFFFFF"/>
            </a:solidFill>
            <a:ln w="0" cap="flat" cmpd="sng" algn="ctr">
              <a:solidFill>
                <a:schemeClr val="tx2"/>
              </a:solidFill>
              <a:prstDash val="solid"/>
              <a:headEnd type="none" w="med" len="med"/>
              <a:tailEnd type="none" w="med" len="med"/>
            </a:ln>
            <a:effectLst>
              <a:outerShdw blurRad="25400" dist="12700" dir="2700000" algn="tl" rotWithShape="0">
                <a:srgbClr val="FFFFFF">
                  <a:lumMod val="75000"/>
                  <a:alpha val="40000"/>
                </a:srgbClr>
              </a:outerShdw>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rtl="0" fontAlgn="base">
                <a:lnSpc>
                  <a:spcPct val="90000"/>
                </a:lnSpc>
                <a:spcBef>
                  <a:spcPct val="0"/>
                </a:spcBef>
                <a:spcAft>
                  <a:spcPct val="0"/>
                </a:spcAft>
                <a:defRPr/>
              </a:pPr>
              <a:endParaRPr lang="fr-fr"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C5AEAF14-10DB-4C48-9D87-331CA22F78F2}"/>
              </a:ext>
            </a:extLst>
          </p:cNvPr>
          <p:cNvGrpSpPr/>
          <p:nvPr/>
        </p:nvGrpSpPr>
        <p:grpSpPr>
          <a:xfrm>
            <a:off x="1577261" y="1998455"/>
            <a:ext cx="1426401" cy="1334812"/>
            <a:chOff x="5397488" y="754565"/>
            <a:chExt cx="1174000" cy="1098620"/>
          </a:xfrm>
        </p:grpSpPr>
        <p:sp>
          <p:nvSpPr>
            <p:cNvPr id="28" name="Hexagon 37">
              <a:extLst>
                <a:ext uri="{FF2B5EF4-FFF2-40B4-BE49-F238E27FC236}">
                  <a16:creationId xmlns:a16="http://schemas.microsoft.com/office/drawing/2014/main" id="{68284191-F5B5-4EE5-8F05-D8D03F85A8FA}"/>
                </a:ext>
              </a:extLst>
            </p:cNvPr>
            <p:cNvSpPr/>
            <p:nvPr/>
          </p:nvSpPr>
          <p:spPr bwMode="auto">
            <a:xfrm>
              <a:off x="5571744" y="754565"/>
              <a:ext cx="999744" cy="1098620"/>
            </a:xfrm>
            <a:custGeom>
              <a:avLst/>
              <a:gdLst>
                <a:gd name="connsiteX0" fmla="*/ 0 w 1060704"/>
                <a:gd name="connsiteY0" fmla="*/ 457200 h 914400"/>
                <a:gd name="connsiteX1" fmla="*/ 228600 w 1060704"/>
                <a:gd name="connsiteY1" fmla="*/ 0 h 914400"/>
                <a:gd name="connsiteX2" fmla="*/ 832104 w 1060704"/>
                <a:gd name="connsiteY2" fmla="*/ 0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6" fmla="*/ 320040 w 1060704"/>
                <a:gd name="connsiteY6" fmla="*/ 9144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0" fmla="*/ 0 w 832104"/>
                <a:gd name="connsiteY0" fmla="*/ 0 h 914400"/>
                <a:gd name="connsiteX1" fmla="*/ 603504 w 832104"/>
                <a:gd name="connsiteY1" fmla="*/ 0 h 914400"/>
                <a:gd name="connsiteX2" fmla="*/ 832104 w 832104"/>
                <a:gd name="connsiteY2" fmla="*/ 457200 h 914400"/>
                <a:gd name="connsiteX3" fmla="*/ 603504 w 832104"/>
                <a:gd name="connsiteY3" fmla="*/ 914400 h 914400"/>
                <a:gd name="connsiteX4" fmla="*/ 0 w 832104"/>
                <a:gd name="connsiteY4" fmla="*/ 914400 h 914400"/>
                <a:gd name="connsiteX0" fmla="*/ 603504 w 832104"/>
                <a:gd name="connsiteY0" fmla="*/ 0 h 914400"/>
                <a:gd name="connsiteX1" fmla="*/ 832104 w 832104"/>
                <a:gd name="connsiteY1" fmla="*/ 457200 h 914400"/>
                <a:gd name="connsiteX2" fmla="*/ 603504 w 832104"/>
                <a:gd name="connsiteY2" fmla="*/ 914400 h 914400"/>
                <a:gd name="connsiteX3" fmla="*/ 0 w 83210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832104" h="914400">
                  <a:moveTo>
                    <a:pt x="603504" y="0"/>
                  </a:moveTo>
                  <a:lnTo>
                    <a:pt x="832104" y="457200"/>
                  </a:lnTo>
                  <a:lnTo>
                    <a:pt x="603504" y="914400"/>
                  </a:lnTo>
                  <a:lnTo>
                    <a:pt x="0" y="914400"/>
                  </a:lnTo>
                </a:path>
              </a:pathLst>
            </a:custGeom>
            <a:noFill/>
            <a:ln w="0" cap="flat" cmpd="sng" algn="ctr">
              <a:solidFill>
                <a:schemeClr val="accent5"/>
              </a:solid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rtl="0" fontAlgn="base">
                <a:lnSpc>
                  <a:spcPct val="90000"/>
                </a:lnSpc>
                <a:spcBef>
                  <a:spcPct val="0"/>
                </a:spcBef>
                <a:spcAft>
                  <a:spcPct val="0"/>
                </a:spcAft>
                <a:defRPr/>
              </a:pPr>
              <a:endParaRPr lang="fr-fr"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4ADD9E8D-1C5A-4C99-AFFE-B4B4A82F9D3A}"/>
                </a:ext>
              </a:extLst>
            </p:cNvPr>
            <p:cNvSpPr/>
            <p:nvPr/>
          </p:nvSpPr>
          <p:spPr bwMode="auto">
            <a:xfrm>
              <a:off x="5397488" y="846675"/>
              <a:ext cx="1060704" cy="914400"/>
            </a:xfrm>
            <a:prstGeom prst="hexagon">
              <a:avLst/>
            </a:prstGeom>
            <a:solidFill>
              <a:srgbClr val="FFFFFF"/>
            </a:solidFill>
            <a:ln w="0" cap="flat" cmpd="sng" algn="ctr">
              <a:solidFill>
                <a:schemeClr val="tx2"/>
              </a:solidFill>
              <a:prstDash val="solid"/>
              <a:headEnd type="none" w="med" len="med"/>
              <a:tailEnd type="none" w="med" len="med"/>
            </a:ln>
            <a:effectLst>
              <a:outerShdw blurRad="25400" dist="12700" dir="2700000" algn="tl" rotWithShape="0">
                <a:srgbClr val="FFFFFF">
                  <a:lumMod val="75000"/>
                  <a:alpha val="40000"/>
                </a:srgbClr>
              </a:outerShdw>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rtl="0" fontAlgn="base">
                <a:lnSpc>
                  <a:spcPct val="90000"/>
                </a:lnSpc>
                <a:spcBef>
                  <a:spcPct val="0"/>
                </a:spcBef>
                <a:spcAft>
                  <a:spcPct val="0"/>
                </a:spcAft>
                <a:defRPr/>
              </a:pPr>
              <a:endParaRPr lang="fr-fr"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7E49D27A-B51F-4CFE-B5E7-9341D48E3D62}"/>
              </a:ext>
            </a:extLst>
          </p:cNvPr>
          <p:cNvGrpSpPr/>
          <p:nvPr/>
        </p:nvGrpSpPr>
        <p:grpSpPr>
          <a:xfrm>
            <a:off x="1853476" y="2464640"/>
            <a:ext cx="753540" cy="409048"/>
            <a:chOff x="7535793" y="701211"/>
            <a:chExt cx="576907" cy="305861"/>
          </a:xfrm>
        </p:grpSpPr>
        <p:sp>
          <p:nvSpPr>
            <p:cNvPr id="44" name="Freeform 60">
              <a:extLst>
                <a:ext uri="{FF2B5EF4-FFF2-40B4-BE49-F238E27FC236}">
                  <a16:creationId xmlns:a16="http://schemas.microsoft.com/office/drawing/2014/main" id="{17ACED1C-34FF-405A-9D32-A95C9B284960}"/>
                </a:ext>
              </a:extLst>
            </p:cNvPr>
            <p:cNvSpPr>
              <a:spLocks/>
            </p:cNvSpPr>
            <p:nvPr/>
          </p:nvSpPr>
          <p:spPr bwMode="auto">
            <a:xfrm>
              <a:off x="7709859" y="701211"/>
              <a:ext cx="164120" cy="164120"/>
            </a:xfrm>
            <a:custGeom>
              <a:avLst/>
              <a:gdLst>
                <a:gd name="T0" fmla="*/ 53 w 106"/>
                <a:gd name="T1" fmla="*/ 106 h 106"/>
                <a:gd name="T2" fmla="*/ 53 w 106"/>
                <a:gd name="T3" fmla="*/ 106 h 106"/>
                <a:gd name="T4" fmla="*/ 106 w 106"/>
                <a:gd name="T5" fmla="*/ 53 h 106"/>
                <a:gd name="T6" fmla="*/ 75 w 106"/>
                <a:gd name="T7" fmla="*/ 5 h 106"/>
                <a:gd name="T8" fmla="*/ 53 w 106"/>
                <a:gd name="T9" fmla="*/ 0 h 106"/>
                <a:gd name="T10" fmla="*/ 31 w 106"/>
                <a:gd name="T11" fmla="*/ 5 h 106"/>
                <a:gd name="T12" fmla="*/ 0 w 106"/>
                <a:gd name="T13" fmla="*/ 53 h 106"/>
                <a:gd name="T14" fmla="*/ 53 w 106"/>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53" y="106"/>
                  </a:moveTo>
                  <a:lnTo>
                    <a:pt x="53" y="106"/>
                  </a:lnTo>
                  <a:cubicBezTo>
                    <a:pt x="82" y="106"/>
                    <a:pt x="106" y="83"/>
                    <a:pt x="106" y="53"/>
                  </a:cubicBezTo>
                  <a:cubicBezTo>
                    <a:pt x="106" y="31"/>
                    <a:pt x="93" y="13"/>
                    <a:pt x="75" y="5"/>
                  </a:cubicBezTo>
                  <a:cubicBezTo>
                    <a:pt x="68" y="2"/>
                    <a:pt x="61" y="0"/>
                    <a:pt x="53" y="0"/>
                  </a:cubicBezTo>
                  <a:cubicBezTo>
                    <a:pt x="45" y="0"/>
                    <a:pt x="38" y="2"/>
                    <a:pt x="31" y="5"/>
                  </a:cubicBezTo>
                  <a:cubicBezTo>
                    <a:pt x="13" y="13"/>
                    <a:pt x="0" y="31"/>
                    <a:pt x="0" y="53"/>
                  </a:cubicBezTo>
                  <a:cubicBezTo>
                    <a:pt x="0" y="83"/>
                    <a:pt x="24" y="106"/>
                    <a:pt x="53" y="106"/>
                  </a:cubicBez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dirty="0">
                <a:solidFill>
                  <a:srgbClr val="3C3C41"/>
                </a:solidFill>
                <a:latin typeface="Segoe UI"/>
                <a:cs typeface="Segoe UI"/>
              </a:endParaRPr>
            </a:p>
          </p:txBody>
        </p:sp>
        <p:sp>
          <p:nvSpPr>
            <p:cNvPr id="45" name="Freeform 61">
              <a:extLst>
                <a:ext uri="{FF2B5EF4-FFF2-40B4-BE49-F238E27FC236}">
                  <a16:creationId xmlns:a16="http://schemas.microsoft.com/office/drawing/2014/main" id="{F8157CBF-CD06-4E96-BC40-09CC04A59827}"/>
                </a:ext>
              </a:extLst>
            </p:cNvPr>
            <p:cNvSpPr>
              <a:spLocks/>
            </p:cNvSpPr>
            <p:nvPr/>
          </p:nvSpPr>
          <p:spPr bwMode="auto">
            <a:xfrm>
              <a:off x="7670073" y="885225"/>
              <a:ext cx="246180" cy="121847"/>
            </a:xfrm>
            <a:custGeom>
              <a:avLst/>
              <a:gdLst>
                <a:gd name="T0" fmla="*/ 80 w 160"/>
                <a:gd name="T1" fmla="*/ 0 h 80"/>
                <a:gd name="T2" fmla="*/ 80 w 160"/>
                <a:gd name="T3" fmla="*/ 0 h 80"/>
                <a:gd name="T4" fmla="*/ 0 w 160"/>
                <a:gd name="T5" fmla="*/ 80 h 80"/>
                <a:gd name="T6" fmla="*/ 160 w 160"/>
                <a:gd name="T7" fmla="*/ 80 h 80"/>
                <a:gd name="T8" fmla="*/ 80 w 160"/>
                <a:gd name="T9" fmla="*/ 0 h 80"/>
              </a:gdLst>
              <a:ahLst/>
              <a:cxnLst>
                <a:cxn ang="0">
                  <a:pos x="T0" y="T1"/>
                </a:cxn>
                <a:cxn ang="0">
                  <a:pos x="T2" y="T3"/>
                </a:cxn>
                <a:cxn ang="0">
                  <a:pos x="T4" y="T5"/>
                </a:cxn>
                <a:cxn ang="0">
                  <a:pos x="T6" y="T7"/>
                </a:cxn>
                <a:cxn ang="0">
                  <a:pos x="T8" y="T9"/>
                </a:cxn>
              </a:cxnLst>
              <a:rect l="0" t="0" r="r" b="b"/>
              <a:pathLst>
                <a:path w="160" h="80">
                  <a:moveTo>
                    <a:pt x="80" y="0"/>
                  </a:moveTo>
                  <a:lnTo>
                    <a:pt x="80" y="0"/>
                  </a:lnTo>
                  <a:cubicBezTo>
                    <a:pt x="36" y="0"/>
                    <a:pt x="0" y="36"/>
                    <a:pt x="0" y="80"/>
                  </a:cubicBezTo>
                  <a:lnTo>
                    <a:pt x="160" y="80"/>
                  </a:lnTo>
                  <a:cubicBezTo>
                    <a:pt x="160" y="36"/>
                    <a:pt x="124" y="0"/>
                    <a:pt x="80" y="0"/>
                  </a:cubicBez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dirty="0">
                <a:solidFill>
                  <a:srgbClr val="3C3C41"/>
                </a:solidFill>
                <a:latin typeface="Segoe UI"/>
                <a:cs typeface="Segoe UI"/>
              </a:endParaRPr>
            </a:p>
          </p:txBody>
        </p:sp>
        <p:sp>
          <p:nvSpPr>
            <p:cNvPr id="46" name="Freeform 62">
              <a:extLst>
                <a:ext uri="{FF2B5EF4-FFF2-40B4-BE49-F238E27FC236}">
                  <a16:creationId xmlns:a16="http://schemas.microsoft.com/office/drawing/2014/main" id="{5CFA4CC9-0D2B-4AF9-A768-0D9C5BAA51AD}"/>
                </a:ext>
              </a:extLst>
            </p:cNvPr>
            <p:cNvSpPr>
              <a:spLocks/>
            </p:cNvSpPr>
            <p:nvPr/>
          </p:nvSpPr>
          <p:spPr bwMode="auto">
            <a:xfrm>
              <a:off x="7535793" y="927498"/>
              <a:ext cx="114387" cy="79573"/>
            </a:xfrm>
            <a:custGeom>
              <a:avLst/>
              <a:gdLst>
                <a:gd name="T0" fmla="*/ 0 w 75"/>
                <a:gd name="T1" fmla="*/ 53 h 53"/>
                <a:gd name="T2" fmla="*/ 0 w 75"/>
                <a:gd name="T3" fmla="*/ 53 h 53"/>
                <a:gd name="T4" fmla="*/ 63 w 75"/>
                <a:gd name="T5" fmla="*/ 53 h 53"/>
                <a:gd name="T6" fmla="*/ 63 w 75"/>
                <a:gd name="T7" fmla="*/ 53 h 53"/>
                <a:gd name="T8" fmla="*/ 75 w 75"/>
                <a:gd name="T9" fmla="*/ 5 h 53"/>
                <a:gd name="T10" fmla="*/ 54 w 75"/>
                <a:gd name="T11" fmla="*/ 0 h 53"/>
                <a:gd name="T12" fmla="*/ 0 w 75"/>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75" h="53">
                  <a:moveTo>
                    <a:pt x="0" y="53"/>
                  </a:moveTo>
                  <a:lnTo>
                    <a:pt x="0" y="53"/>
                  </a:lnTo>
                  <a:lnTo>
                    <a:pt x="63" y="53"/>
                  </a:lnTo>
                  <a:lnTo>
                    <a:pt x="63" y="53"/>
                  </a:lnTo>
                  <a:cubicBezTo>
                    <a:pt x="63" y="36"/>
                    <a:pt x="67" y="19"/>
                    <a:pt x="75" y="5"/>
                  </a:cubicBezTo>
                  <a:cubicBezTo>
                    <a:pt x="68" y="2"/>
                    <a:pt x="61" y="0"/>
                    <a:pt x="54" y="0"/>
                  </a:cubicBezTo>
                  <a:cubicBezTo>
                    <a:pt x="24" y="0"/>
                    <a:pt x="0" y="24"/>
                    <a:pt x="0" y="53"/>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dirty="0">
                <a:solidFill>
                  <a:srgbClr val="3C3C41"/>
                </a:solidFill>
                <a:latin typeface="Segoe UI"/>
                <a:cs typeface="Segoe UI"/>
              </a:endParaRPr>
            </a:p>
          </p:txBody>
        </p:sp>
        <p:sp>
          <p:nvSpPr>
            <p:cNvPr id="47" name="Freeform 63">
              <a:extLst>
                <a:ext uri="{FF2B5EF4-FFF2-40B4-BE49-F238E27FC236}">
                  <a16:creationId xmlns:a16="http://schemas.microsoft.com/office/drawing/2014/main" id="{0D6C1010-2285-4893-BF3F-9B405C595F88}"/>
                </a:ext>
              </a:extLst>
            </p:cNvPr>
            <p:cNvSpPr>
              <a:spLocks/>
            </p:cNvSpPr>
            <p:nvPr/>
          </p:nvSpPr>
          <p:spPr bwMode="auto">
            <a:xfrm>
              <a:off x="7555686" y="783271"/>
              <a:ext cx="124333" cy="121847"/>
            </a:xfrm>
            <a:custGeom>
              <a:avLst/>
              <a:gdLst>
                <a:gd name="T0" fmla="*/ 40 w 80"/>
                <a:gd name="T1" fmla="*/ 0 h 80"/>
                <a:gd name="T2" fmla="*/ 40 w 80"/>
                <a:gd name="T3" fmla="*/ 0 h 80"/>
                <a:gd name="T4" fmla="*/ 0 w 80"/>
                <a:gd name="T5" fmla="*/ 40 h 80"/>
                <a:gd name="T6" fmla="*/ 14 w 80"/>
                <a:gd name="T7" fmla="*/ 71 h 80"/>
                <a:gd name="T8" fmla="*/ 37 w 80"/>
                <a:gd name="T9" fmla="*/ 80 h 80"/>
                <a:gd name="T10" fmla="*/ 40 w 80"/>
                <a:gd name="T11" fmla="*/ 80 h 80"/>
                <a:gd name="T12" fmla="*/ 42 w 80"/>
                <a:gd name="T13" fmla="*/ 80 h 80"/>
                <a:gd name="T14" fmla="*/ 65 w 80"/>
                <a:gd name="T15" fmla="*/ 71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lnTo>
                    <a:pt x="40" y="0"/>
                  </a:lnTo>
                  <a:cubicBezTo>
                    <a:pt x="17" y="0"/>
                    <a:pt x="0" y="18"/>
                    <a:pt x="0" y="40"/>
                  </a:cubicBezTo>
                  <a:cubicBezTo>
                    <a:pt x="0" y="53"/>
                    <a:pt x="5" y="63"/>
                    <a:pt x="14" y="71"/>
                  </a:cubicBezTo>
                  <a:cubicBezTo>
                    <a:pt x="20" y="76"/>
                    <a:pt x="28" y="80"/>
                    <a:pt x="37" y="80"/>
                  </a:cubicBezTo>
                  <a:cubicBezTo>
                    <a:pt x="38" y="80"/>
                    <a:pt x="39" y="80"/>
                    <a:pt x="40" y="80"/>
                  </a:cubicBezTo>
                  <a:cubicBezTo>
                    <a:pt x="40" y="80"/>
                    <a:pt x="41" y="80"/>
                    <a:pt x="42" y="80"/>
                  </a:cubicBezTo>
                  <a:cubicBezTo>
                    <a:pt x="51" y="80"/>
                    <a:pt x="59" y="76"/>
                    <a:pt x="65" y="71"/>
                  </a:cubicBezTo>
                  <a:cubicBezTo>
                    <a:pt x="74" y="63"/>
                    <a:pt x="80" y="53"/>
                    <a:pt x="80" y="40"/>
                  </a:cubicBezTo>
                  <a:cubicBezTo>
                    <a:pt x="80" y="18"/>
                    <a:pt x="62" y="0"/>
                    <a:pt x="40" y="0"/>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dirty="0">
                <a:solidFill>
                  <a:srgbClr val="3C3C41"/>
                </a:solidFill>
                <a:latin typeface="Segoe UI"/>
                <a:cs typeface="Segoe UI"/>
              </a:endParaRPr>
            </a:p>
          </p:txBody>
        </p:sp>
        <p:sp>
          <p:nvSpPr>
            <p:cNvPr id="48" name="Freeform 64">
              <a:extLst>
                <a:ext uri="{FF2B5EF4-FFF2-40B4-BE49-F238E27FC236}">
                  <a16:creationId xmlns:a16="http://schemas.microsoft.com/office/drawing/2014/main" id="{307DE7D0-D958-4AB9-850C-6661DB877DE7}"/>
                </a:ext>
              </a:extLst>
            </p:cNvPr>
            <p:cNvSpPr>
              <a:spLocks/>
            </p:cNvSpPr>
            <p:nvPr/>
          </p:nvSpPr>
          <p:spPr bwMode="auto">
            <a:xfrm>
              <a:off x="7908793" y="760891"/>
              <a:ext cx="203907" cy="206393"/>
            </a:xfrm>
            <a:custGeom>
              <a:avLst/>
              <a:gdLst>
                <a:gd name="T0" fmla="*/ 80 w 133"/>
                <a:gd name="T1" fmla="*/ 53 h 133"/>
                <a:gd name="T2" fmla="*/ 80 w 133"/>
                <a:gd name="T3" fmla="*/ 53 h 133"/>
                <a:gd name="T4" fmla="*/ 80 w 133"/>
                <a:gd name="T5" fmla="*/ 0 h 133"/>
                <a:gd name="T6" fmla="*/ 53 w 133"/>
                <a:gd name="T7" fmla="*/ 0 h 133"/>
                <a:gd name="T8" fmla="*/ 53 w 133"/>
                <a:gd name="T9" fmla="*/ 53 h 133"/>
                <a:gd name="T10" fmla="*/ 0 w 133"/>
                <a:gd name="T11" fmla="*/ 53 h 133"/>
                <a:gd name="T12" fmla="*/ 0 w 133"/>
                <a:gd name="T13" fmla="*/ 80 h 133"/>
                <a:gd name="T14" fmla="*/ 53 w 133"/>
                <a:gd name="T15" fmla="*/ 80 h 133"/>
                <a:gd name="T16" fmla="*/ 53 w 133"/>
                <a:gd name="T17" fmla="*/ 80 h 133"/>
                <a:gd name="T18" fmla="*/ 53 w 133"/>
                <a:gd name="T19" fmla="*/ 133 h 133"/>
                <a:gd name="T20" fmla="*/ 80 w 133"/>
                <a:gd name="T21" fmla="*/ 133 h 133"/>
                <a:gd name="T22" fmla="*/ 80 w 133"/>
                <a:gd name="T23" fmla="*/ 80 h 133"/>
                <a:gd name="T24" fmla="*/ 80 w 133"/>
                <a:gd name="T25" fmla="*/ 80 h 133"/>
                <a:gd name="T26" fmla="*/ 133 w 133"/>
                <a:gd name="T27" fmla="*/ 80 h 133"/>
                <a:gd name="T28" fmla="*/ 133 w 133"/>
                <a:gd name="T29" fmla="*/ 53 h 133"/>
                <a:gd name="T30" fmla="*/ 80 w 133"/>
                <a:gd name="T31" fmla="*/ 5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133">
                  <a:moveTo>
                    <a:pt x="80" y="53"/>
                  </a:moveTo>
                  <a:lnTo>
                    <a:pt x="80" y="53"/>
                  </a:lnTo>
                  <a:lnTo>
                    <a:pt x="80" y="0"/>
                  </a:lnTo>
                  <a:lnTo>
                    <a:pt x="53" y="0"/>
                  </a:lnTo>
                  <a:lnTo>
                    <a:pt x="53" y="53"/>
                  </a:lnTo>
                  <a:lnTo>
                    <a:pt x="0" y="53"/>
                  </a:lnTo>
                  <a:lnTo>
                    <a:pt x="0" y="80"/>
                  </a:lnTo>
                  <a:lnTo>
                    <a:pt x="53" y="80"/>
                  </a:lnTo>
                  <a:lnTo>
                    <a:pt x="53" y="80"/>
                  </a:lnTo>
                  <a:lnTo>
                    <a:pt x="53" y="133"/>
                  </a:lnTo>
                  <a:lnTo>
                    <a:pt x="80" y="133"/>
                  </a:lnTo>
                  <a:lnTo>
                    <a:pt x="80" y="80"/>
                  </a:lnTo>
                  <a:lnTo>
                    <a:pt x="80" y="80"/>
                  </a:lnTo>
                  <a:lnTo>
                    <a:pt x="133" y="80"/>
                  </a:lnTo>
                  <a:lnTo>
                    <a:pt x="133" y="53"/>
                  </a:lnTo>
                  <a:lnTo>
                    <a:pt x="80" y="53"/>
                  </a:lnTo>
                  <a:close/>
                </a:path>
              </a:pathLst>
            </a:custGeom>
            <a:solidFill>
              <a:schemeClr val="accent5"/>
            </a:solid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dirty="0">
                <a:solidFill>
                  <a:srgbClr val="3C3C41"/>
                </a:solidFill>
                <a:latin typeface="Segoe UI"/>
                <a:cs typeface="Segoe UI"/>
              </a:endParaRPr>
            </a:p>
          </p:txBody>
        </p:sp>
      </p:grpSp>
      <p:pic>
        <p:nvPicPr>
          <p:cNvPr id="72706" name="Picture 2" descr="HP">
            <a:extLst>
              <a:ext uri="{FF2B5EF4-FFF2-40B4-BE49-F238E27FC236}">
                <a16:creationId xmlns:a16="http://schemas.microsoft.com/office/drawing/2014/main" id="{82AD76F5-4432-4A24-A7C0-DC5814A5E3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2007" y="5360738"/>
            <a:ext cx="2274538" cy="1058207"/>
          </a:xfrm>
          <a:prstGeom prst="rect">
            <a:avLst/>
          </a:prstGeom>
          <a:noFill/>
          <a:extLst>
            <a:ext uri="{909E8E84-426E-40DD-AFC4-6F175D3DCCD1}">
              <a14:hiddenFill xmlns:a14="http://schemas.microsoft.com/office/drawing/2010/main">
                <a:solidFill>
                  <a:srgbClr val="FFFFFF"/>
                </a:solidFill>
              </a14:hiddenFill>
            </a:ext>
          </a:extLst>
        </p:spPr>
      </p:pic>
      <p:pic>
        <p:nvPicPr>
          <p:cNvPr id="72707" name="Picture 3" descr="Crane">
            <a:extLst>
              <a:ext uri="{FF2B5EF4-FFF2-40B4-BE49-F238E27FC236}">
                <a16:creationId xmlns:a16="http://schemas.microsoft.com/office/drawing/2014/main" id="{419EE914-04E7-45B0-B701-EBAE935D18B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51561" y="5388699"/>
            <a:ext cx="2274536" cy="1058206"/>
          </a:xfrm>
          <a:prstGeom prst="rect">
            <a:avLst/>
          </a:prstGeom>
          <a:noFill/>
          <a:extLst>
            <a:ext uri="{909E8E84-426E-40DD-AFC4-6F175D3DCCD1}">
              <a14:hiddenFill xmlns:a14="http://schemas.microsoft.com/office/drawing/2010/main">
                <a:solidFill>
                  <a:srgbClr val="FFFFFF"/>
                </a:solidFill>
              </a14:hiddenFill>
            </a:ext>
          </a:extLst>
        </p:spPr>
      </p:pic>
      <p:pic>
        <p:nvPicPr>
          <p:cNvPr id="72708" name="Picture 4" descr="Infosys">
            <a:extLst>
              <a:ext uri="{FF2B5EF4-FFF2-40B4-BE49-F238E27FC236}">
                <a16:creationId xmlns:a16="http://schemas.microsoft.com/office/drawing/2014/main" id="{961A90E0-D66A-43BB-9732-2F040FE1903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97315" y="5435188"/>
            <a:ext cx="2012291" cy="936200"/>
          </a:xfrm>
          <a:prstGeom prst="rect">
            <a:avLst/>
          </a:prstGeom>
          <a:noFill/>
          <a:extLst>
            <a:ext uri="{909E8E84-426E-40DD-AFC4-6F175D3DCCD1}">
              <a14:hiddenFill xmlns:a14="http://schemas.microsoft.com/office/drawing/2010/main">
                <a:solidFill>
                  <a:srgbClr val="FFFFFF"/>
                </a:solidFill>
              </a14:hiddenFill>
            </a:ext>
          </a:extLst>
        </p:spPr>
      </p:pic>
      <p:pic>
        <p:nvPicPr>
          <p:cNvPr id="72709" name="Picture 5" descr="Descartes">
            <a:extLst>
              <a:ext uri="{FF2B5EF4-FFF2-40B4-BE49-F238E27FC236}">
                <a16:creationId xmlns:a16="http://schemas.microsoft.com/office/drawing/2014/main" id="{0AA5943A-19DD-4082-B958-784025A018E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14046" y="5365226"/>
            <a:ext cx="2386035" cy="1110080"/>
          </a:xfrm>
          <a:prstGeom prst="rect">
            <a:avLst/>
          </a:prstGeom>
          <a:noFill/>
          <a:extLst>
            <a:ext uri="{909E8E84-426E-40DD-AFC4-6F175D3DCCD1}">
              <a14:hiddenFill xmlns:a14="http://schemas.microsoft.com/office/drawing/2010/main">
                <a:solidFill>
                  <a:srgbClr val="FFFFFF"/>
                </a:solidFill>
              </a14:hiddenFill>
            </a:ext>
          </a:extLst>
        </p:spPr>
      </p:pic>
      <p:pic>
        <p:nvPicPr>
          <p:cNvPr id="72710" name="Picture 6" descr="Park Place Technologies">
            <a:extLst>
              <a:ext uri="{FF2B5EF4-FFF2-40B4-BE49-F238E27FC236}">
                <a16:creationId xmlns:a16="http://schemas.microsoft.com/office/drawing/2014/main" id="{6BD63FD4-C665-4436-880E-1E6073CA5BB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91341" y="5378343"/>
            <a:ext cx="2398791" cy="1110079"/>
          </a:xfrm>
          <a:prstGeom prst="rect">
            <a:avLst/>
          </a:prstGeom>
          <a:noFill/>
          <a:extLst>
            <a:ext uri="{909E8E84-426E-40DD-AFC4-6F175D3DCCD1}">
              <a14:hiddenFill xmlns:a14="http://schemas.microsoft.com/office/drawing/2010/main">
                <a:solidFill>
                  <a:srgbClr val="FFFFFF"/>
                </a:solidFill>
              </a14:hiddenFill>
            </a:ext>
          </a:extLst>
        </p:spPr>
      </p:pic>
      <p:pic>
        <p:nvPicPr>
          <p:cNvPr id="63" name="Graphic 62">
            <a:extLst>
              <a:ext uri="{FF2B5EF4-FFF2-40B4-BE49-F238E27FC236}">
                <a16:creationId xmlns:a16="http://schemas.microsoft.com/office/drawing/2014/main" id="{77028086-4A38-4C1A-BDD3-3B8020ED7CB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31976" y="2319033"/>
            <a:ext cx="560189" cy="681314"/>
          </a:xfrm>
          <a:prstGeom prst="rect">
            <a:avLst/>
          </a:prstGeom>
        </p:spPr>
      </p:pic>
      <p:grpSp>
        <p:nvGrpSpPr>
          <p:cNvPr id="67" name="Group 66">
            <a:extLst>
              <a:ext uri="{FF2B5EF4-FFF2-40B4-BE49-F238E27FC236}">
                <a16:creationId xmlns:a16="http://schemas.microsoft.com/office/drawing/2014/main" id="{4DD6E20B-18D7-4603-85F8-F9BB4D1074A9}"/>
              </a:ext>
            </a:extLst>
          </p:cNvPr>
          <p:cNvGrpSpPr/>
          <p:nvPr/>
        </p:nvGrpSpPr>
        <p:grpSpPr>
          <a:xfrm>
            <a:off x="9738720" y="2423887"/>
            <a:ext cx="547105" cy="539735"/>
            <a:chOff x="2006335" y="4257688"/>
            <a:chExt cx="509604" cy="525531"/>
          </a:xfrm>
        </p:grpSpPr>
        <p:sp>
          <p:nvSpPr>
            <p:cNvPr id="68" name="Freeform 1052">
              <a:extLst>
                <a:ext uri="{FF2B5EF4-FFF2-40B4-BE49-F238E27FC236}">
                  <a16:creationId xmlns:a16="http://schemas.microsoft.com/office/drawing/2014/main" id="{B957B545-C41F-4F12-8029-7330431E2D22}"/>
                </a:ext>
              </a:extLst>
            </p:cNvPr>
            <p:cNvSpPr>
              <a:spLocks/>
            </p:cNvSpPr>
            <p:nvPr/>
          </p:nvSpPr>
          <p:spPr bwMode="auto">
            <a:xfrm>
              <a:off x="2244106" y="4412657"/>
              <a:ext cx="95551" cy="212335"/>
            </a:xfrm>
            <a:custGeom>
              <a:avLst/>
              <a:gdLst>
                <a:gd name="T0" fmla="*/ 13 w 18"/>
                <a:gd name="T1" fmla="*/ 40 h 40"/>
                <a:gd name="T2" fmla="*/ 0 w 18"/>
                <a:gd name="T3" fmla="*/ 27 h 40"/>
                <a:gd name="T4" fmla="*/ 0 w 18"/>
                <a:gd name="T5" fmla="*/ 0 h 40"/>
                <a:gd name="T6" fmla="*/ 6 w 18"/>
                <a:gd name="T7" fmla="*/ 0 h 40"/>
                <a:gd name="T8" fmla="*/ 6 w 18"/>
                <a:gd name="T9" fmla="*/ 23 h 40"/>
                <a:gd name="T10" fmla="*/ 18 w 18"/>
                <a:gd name="T11" fmla="*/ 35 h 40"/>
                <a:gd name="T12" fmla="*/ 13 w 1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8" h="40">
                  <a:moveTo>
                    <a:pt x="13" y="40"/>
                  </a:moveTo>
                  <a:lnTo>
                    <a:pt x="0" y="27"/>
                  </a:lnTo>
                  <a:lnTo>
                    <a:pt x="0" y="0"/>
                  </a:lnTo>
                  <a:lnTo>
                    <a:pt x="6" y="0"/>
                  </a:lnTo>
                  <a:lnTo>
                    <a:pt x="6" y="23"/>
                  </a:lnTo>
                  <a:lnTo>
                    <a:pt x="18" y="35"/>
                  </a:lnTo>
                  <a:lnTo>
                    <a:pt x="13" y="40"/>
                  </a:lnTo>
                  <a:close/>
                </a:path>
              </a:pathLst>
            </a:custGeom>
            <a:solidFill>
              <a:srgbClr val="30E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0" cap="none" spc="0" normalizeH="0" baseline="0" noProof="0" dirty="0">
                <a:ln>
                  <a:noFill/>
                </a:ln>
                <a:solidFill>
                  <a:srgbClr val="3C3C41"/>
                </a:solidFill>
                <a:effectLst/>
                <a:uLnTx/>
                <a:uFillTx/>
                <a:latin typeface="Segoe UI"/>
                <a:cs typeface="Segoe UI"/>
              </a:endParaRPr>
            </a:p>
          </p:txBody>
        </p:sp>
        <p:sp>
          <p:nvSpPr>
            <p:cNvPr id="69" name="Freeform 1053">
              <a:extLst>
                <a:ext uri="{FF2B5EF4-FFF2-40B4-BE49-F238E27FC236}">
                  <a16:creationId xmlns:a16="http://schemas.microsoft.com/office/drawing/2014/main" id="{1804B63B-2941-43F8-8036-50919014798D}"/>
                </a:ext>
              </a:extLst>
            </p:cNvPr>
            <p:cNvSpPr>
              <a:spLocks/>
            </p:cNvSpPr>
            <p:nvPr/>
          </p:nvSpPr>
          <p:spPr bwMode="auto">
            <a:xfrm flipH="1">
              <a:off x="2006335" y="4257688"/>
              <a:ext cx="509604" cy="525531"/>
            </a:xfrm>
            <a:custGeom>
              <a:avLst/>
              <a:gdLst>
                <a:gd name="T0" fmla="*/ 60 w 120"/>
                <a:gd name="T1" fmla="*/ 4 h 124"/>
                <a:gd name="T2" fmla="*/ 28 w 120"/>
                <a:gd name="T3" fmla="*/ 13 h 124"/>
                <a:gd name="T4" fmla="*/ 26 w 120"/>
                <a:gd name="T5" fmla="*/ 14 h 124"/>
                <a:gd name="T6" fmla="*/ 12 w 120"/>
                <a:gd name="T7" fmla="*/ 0 h 124"/>
                <a:gd name="T8" fmla="*/ 12 w 120"/>
                <a:gd name="T9" fmla="*/ 36 h 124"/>
                <a:gd name="T10" fmla="*/ 48 w 120"/>
                <a:gd name="T11" fmla="*/ 36 h 124"/>
                <a:gd name="T12" fmla="*/ 32 w 120"/>
                <a:gd name="T13" fmla="*/ 20 h 124"/>
                <a:gd name="T14" fmla="*/ 32 w 120"/>
                <a:gd name="T15" fmla="*/ 20 h 124"/>
                <a:gd name="T16" fmla="*/ 60 w 120"/>
                <a:gd name="T17" fmla="*/ 12 h 124"/>
                <a:gd name="T18" fmla="*/ 112 w 120"/>
                <a:gd name="T19" fmla="*/ 64 h 124"/>
                <a:gd name="T20" fmla="*/ 60 w 120"/>
                <a:gd name="T21" fmla="*/ 116 h 124"/>
                <a:gd name="T22" fmla="*/ 8 w 120"/>
                <a:gd name="T23" fmla="*/ 64 h 124"/>
                <a:gd name="T24" fmla="*/ 0 w 120"/>
                <a:gd name="T25" fmla="*/ 64 h 124"/>
                <a:gd name="T26" fmla="*/ 60 w 120"/>
                <a:gd name="T27" fmla="*/ 124 h 124"/>
                <a:gd name="T28" fmla="*/ 120 w 120"/>
                <a:gd name="T29" fmla="*/ 64 h 124"/>
                <a:gd name="T30" fmla="*/ 60 w 120"/>
                <a:gd name="T31"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4">
                  <a:moveTo>
                    <a:pt x="60" y="4"/>
                  </a:moveTo>
                  <a:cubicBezTo>
                    <a:pt x="48" y="4"/>
                    <a:pt x="37" y="7"/>
                    <a:pt x="28" y="13"/>
                  </a:cubicBezTo>
                  <a:cubicBezTo>
                    <a:pt x="26" y="14"/>
                    <a:pt x="26" y="14"/>
                    <a:pt x="26" y="14"/>
                  </a:cubicBezTo>
                  <a:cubicBezTo>
                    <a:pt x="12" y="0"/>
                    <a:pt x="12" y="0"/>
                    <a:pt x="12" y="0"/>
                  </a:cubicBezTo>
                  <a:cubicBezTo>
                    <a:pt x="12" y="36"/>
                    <a:pt x="12" y="36"/>
                    <a:pt x="12" y="36"/>
                  </a:cubicBezTo>
                  <a:cubicBezTo>
                    <a:pt x="48" y="36"/>
                    <a:pt x="48" y="36"/>
                    <a:pt x="48" y="36"/>
                  </a:cubicBezTo>
                  <a:cubicBezTo>
                    <a:pt x="32" y="20"/>
                    <a:pt x="32" y="20"/>
                    <a:pt x="32" y="20"/>
                  </a:cubicBezTo>
                  <a:cubicBezTo>
                    <a:pt x="32" y="20"/>
                    <a:pt x="32" y="20"/>
                    <a:pt x="32" y="20"/>
                  </a:cubicBezTo>
                  <a:cubicBezTo>
                    <a:pt x="40" y="15"/>
                    <a:pt x="50" y="12"/>
                    <a:pt x="60" y="12"/>
                  </a:cubicBezTo>
                  <a:cubicBezTo>
                    <a:pt x="89" y="12"/>
                    <a:pt x="112" y="35"/>
                    <a:pt x="112" y="64"/>
                  </a:cubicBezTo>
                  <a:cubicBezTo>
                    <a:pt x="112" y="93"/>
                    <a:pt x="89" y="116"/>
                    <a:pt x="60" y="116"/>
                  </a:cubicBezTo>
                  <a:cubicBezTo>
                    <a:pt x="31" y="116"/>
                    <a:pt x="8" y="93"/>
                    <a:pt x="8" y="64"/>
                  </a:cubicBezTo>
                  <a:cubicBezTo>
                    <a:pt x="0" y="64"/>
                    <a:pt x="0" y="64"/>
                    <a:pt x="0" y="64"/>
                  </a:cubicBezTo>
                  <a:cubicBezTo>
                    <a:pt x="0" y="97"/>
                    <a:pt x="27" y="124"/>
                    <a:pt x="60" y="124"/>
                  </a:cubicBezTo>
                  <a:cubicBezTo>
                    <a:pt x="93" y="124"/>
                    <a:pt x="120" y="97"/>
                    <a:pt x="120" y="64"/>
                  </a:cubicBezTo>
                  <a:cubicBezTo>
                    <a:pt x="120" y="31"/>
                    <a:pt x="93" y="4"/>
                    <a:pt x="60" y="4"/>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fr-fr" sz="1750" b="0" i="0" u="none" strike="noStrike" kern="0" cap="none" spc="0" normalizeH="0" baseline="0" noProof="0" dirty="0">
                <a:ln>
                  <a:noFill/>
                </a:ln>
                <a:solidFill>
                  <a:srgbClr val="3C3C41"/>
                </a:solidFill>
                <a:effectLst/>
                <a:uLnTx/>
                <a:uFillTx/>
                <a:latin typeface="Segoe UI"/>
                <a:cs typeface="Segoe UI"/>
              </a:endParaRPr>
            </a:p>
          </p:txBody>
        </p:sp>
      </p:grpSp>
    </p:spTree>
    <p:extLst>
      <p:ext uri="{BB962C8B-B14F-4D97-AF65-F5344CB8AC3E}">
        <p14:creationId xmlns:p14="http://schemas.microsoft.com/office/powerpoint/2010/main" val="245919652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a:extLst>
              <a:ext uri="{FF2B5EF4-FFF2-40B4-BE49-F238E27FC236}">
                <a16:creationId xmlns:a16="http://schemas.microsoft.com/office/drawing/2014/main" id="{C5EAD17F-35FF-41AF-AA92-C4A7FFC3075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32104" y="1536192"/>
            <a:ext cx="3402149" cy="1938527"/>
          </a:xfrm>
          <a:prstGeom prst="rect">
            <a:avLst/>
          </a:prstGeom>
          <a:effectLst>
            <a:outerShdw blurRad="254000" dist="76200" dir="2700000" algn="ctr" rotWithShape="0">
              <a:srgbClr val="000000">
                <a:alpha val="40000"/>
              </a:srgbClr>
            </a:outerShdw>
          </a:effectLst>
        </p:spPr>
      </p:pic>
      <p:pic>
        <p:nvPicPr>
          <p:cNvPr id="19" name="Picture 18" descr="A screenshot of a social media post&#10;&#10;Description automatically generated">
            <a:extLst>
              <a:ext uri="{FF2B5EF4-FFF2-40B4-BE49-F238E27FC236}">
                <a16:creationId xmlns:a16="http://schemas.microsoft.com/office/drawing/2014/main" id="{A7B712FA-BC18-46E4-82F9-A4D53EC475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83296" y="1536192"/>
            <a:ext cx="3402210" cy="1938528"/>
          </a:xfrm>
          <a:prstGeom prst="rect">
            <a:avLst/>
          </a:prstGeom>
          <a:effectLst>
            <a:outerShdw blurRad="254000" dist="76200" dir="2700000" algn="ctr" rotWithShape="0">
              <a:srgbClr val="000000">
                <a:alpha val="40000"/>
              </a:srgbClr>
            </a:outerShdw>
          </a:effectLst>
        </p:spPr>
      </p:pic>
      <p:pic>
        <p:nvPicPr>
          <p:cNvPr id="21" name="Picture 20" descr="A screenshot of a cell phone&#10;&#10;Description automatically generated">
            <a:extLst>
              <a:ext uri="{FF2B5EF4-FFF2-40B4-BE49-F238E27FC236}">
                <a16:creationId xmlns:a16="http://schemas.microsoft.com/office/drawing/2014/main" id="{6C4EBDCE-ED39-4639-A188-FEF170F9EB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62272" y="1536192"/>
            <a:ext cx="3402210" cy="1938528"/>
          </a:xfrm>
          <a:prstGeom prst="rect">
            <a:avLst/>
          </a:prstGeom>
          <a:effectLst>
            <a:outerShdw blurRad="254000" dist="76200" dir="2700000" algn="ctr" rotWithShape="0">
              <a:srgbClr val="000000">
                <a:alpha val="40000"/>
              </a:srgbClr>
            </a:outerShdw>
          </a:effectLst>
        </p:spPr>
      </p:pic>
      <p:grpSp>
        <p:nvGrpSpPr>
          <p:cNvPr id="10" name="Group 9">
            <a:extLst>
              <a:ext uri="{FF2B5EF4-FFF2-40B4-BE49-F238E27FC236}">
                <a16:creationId xmlns:a16="http://schemas.microsoft.com/office/drawing/2014/main" id="{62516674-E08B-4280-B1DF-B1A481BD399C}"/>
              </a:ext>
            </a:extLst>
          </p:cNvPr>
          <p:cNvGrpSpPr/>
          <p:nvPr/>
        </p:nvGrpSpPr>
        <p:grpSpPr>
          <a:xfrm>
            <a:off x="915582" y="4734481"/>
            <a:ext cx="10605313" cy="1713647"/>
            <a:chOff x="896845" y="4642069"/>
            <a:chExt cx="10398311" cy="1680199"/>
          </a:xfrm>
        </p:grpSpPr>
        <p:grpSp>
          <p:nvGrpSpPr>
            <p:cNvPr id="9" name="Group 8">
              <a:extLst>
                <a:ext uri="{FF2B5EF4-FFF2-40B4-BE49-F238E27FC236}">
                  <a16:creationId xmlns:a16="http://schemas.microsoft.com/office/drawing/2014/main" id="{87C0F8DB-474F-4274-8A19-93A71AD5F60A}"/>
                </a:ext>
              </a:extLst>
            </p:cNvPr>
            <p:cNvGrpSpPr/>
            <p:nvPr/>
          </p:nvGrpSpPr>
          <p:grpSpPr>
            <a:xfrm>
              <a:off x="896845" y="4642069"/>
              <a:ext cx="10398311" cy="1680199"/>
              <a:chOff x="896845" y="4642069"/>
              <a:chExt cx="10398311" cy="1680199"/>
            </a:xfrm>
          </p:grpSpPr>
          <p:sp>
            <p:nvSpPr>
              <p:cNvPr id="82" name="Rectangle 81">
                <a:extLst>
                  <a:ext uri="{FF2B5EF4-FFF2-40B4-BE49-F238E27FC236}">
                    <a16:creationId xmlns:a16="http://schemas.microsoft.com/office/drawing/2014/main" id="{1D484623-ACFA-4C61-BDB6-2FEA9302DD8A}"/>
                  </a:ext>
                </a:extLst>
              </p:cNvPr>
              <p:cNvSpPr/>
              <p:nvPr/>
            </p:nvSpPr>
            <p:spPr bwMode="auto">
              <a:xfrm>
                <a:off x="896845" y="4642069"/>
                <a:ext cx="10398311" cy="1680199"/>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1A96B573-6B46-4457-B9C2-5B176D41BBFF}"/>
                  </a:ext>
                </a:extLst>
              </p:cNvPr>
              <p:cNvGrpSpPr/>
              <p:nvPr/>
            </p:nvGrpSpPr>
            <p:grpSpPr>
              <a:xfrm>
                <a:off x="4317026" y="4871251"/>
                <a:ext cx="3492367" cy="1292542"/>
                <a:chOff x="4317026" y="4871251"/>
                <a:chExt cx="3492367" cy="1292542"/>
              </a:xfrm>
            </p:grpSpPr>
            <p:cxnSp>
              <p:nvCxnSpPr>
                <p:cNvPr id="115" name="Straight Connector 114">
                  <a:extLst>
                    <a:ext uri="{FF2B5EF4-FFF2-40B4-BE49-F238E27FC236}">
                      <a16:creationId xmlns:a16="http://schemas.microsoft.com/office/drawing/2014/main" id="{F9B34108-4DFE-42E8-807B-0272125605B9}"/>
                    </a:ext>
                  </a:extLst>
                </p:cNvPr>
                <p:cNvCxnSpPr/>
                <p:nvPr/>
              </p:nvCxnSpPr>
              <p:spPr>
                <a:xfrm>
                  <a:off x="4317026" y="4871251"/>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5C2DD06E-9288-49B9-AA46-63FA673C9EE6}"/>
                    </a:ext>
                  </a:extLst>
                </p:cNvPr>
                <p:cNvCxnSpPr/>
                <p:nvPr/>
              </p:nvCxnSpPr>
              <p:spPr>
                <a:xfrm>
                  <a:off x="7809393" y="4871251"/>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983848E-1520-4229-8A7E-5257AAF8FCA7}"/>
                    </a:ext>
                  </a:extLst>
                </p:cNvPr>
                <p:cNvCxnSpPr/>
                <p:nvPr/>
              </p:nvCxnSpPr>
              <p:spPr>
                <a:xfrm>
                  <a:off x="4317026" y="5188445"/>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3163A527-0D0A-46AB-BE57-463136AD511C}"/>
                    </a:ext>
                  </a:extLst>
                </p:cNvPr>
                <p:cNvCxnSpPr/>
                <p:nvPr/>
              </p:nvCxnSpPr>
              <p:spPr>
                <a:xfrm>
                  <a:off x="7809393" y="5188445"/>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2" name="Rectangle 111">
              <a:extLst>
                <a:ext uri="{FF2B5EF4-FFF2-40B4-BE49-F238E27FC236}">
                  <a16:creationId xmlns:a16="http://schemas.microsoft.com/office/drawing/2014/main" id="{7D92624E-A76C-4C29-A69C-F3FA4DD94F46}"/>
                </a:ext>
              </a:extLst>
            </p:cNvPr>
            <p:cNvSpPr/>
            <p:nvPr/>
          </p:nvSpPr>
          <p:spPr>
            <a:xfrm>
              <a:off x="1037831" y="5424269"/>
              <a:ext cx="3076976" cy="618627"/>
            </a:xfrm>
            <a:prstGeom prst="rect">
              <a:avLst/>
            </a:prstGeom>
          </p:spPr>
          <p:txBody>
            <a:bodyPr wrap="none" lIns="0">
              <a:spAutoFit/>
            </a:bodyPr>
            <a:lstStyle/>
            <a:p>
              <a:pPr algn="ctr" defTabSz="932563" rtl="0">
                <a:defRPr/>
              </a:pP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Identifiez les personnes </a:t>
              </a:r>
              <a:b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b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les plus susceptibles d</a:t>
              </a: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a:t>
              </a: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acheter</a:t>
              </a:r>
            </a:p>
          </p:txBody>
        </p:sp>
        <p:sp>
          <p:nvSpPr>
            <p:cNvPr id="113" name="Rectangle 112">
              <a:extLst>
                <a:ext uri="{FF2B5EF4-FFF2-40B4-BE49-F238E27FC236}">
                  <a16:creationId xmlns:a16="http://schemas.microsoft.com/office/drawing/2014/main" id="{4AAE8B62-F8B4-4A71-B00F-C063A13D4297}"/>
                </a:ext>
              </a:extLst>
            </p:cNvPr>
            <p:cNvSpPr/>
            <p:nvPr/>
          </p:nvSpPr>
          <p:spPr>
            <a:xfrm>
              <a:off x="7999186" y="5424269"/>
              <a:ext cx="3104010" cy="618627"/>
            </a:xfrm>
            <a:prstGeom prst="rect">
              <a:avLst/>
            </a:prstGeom>
          </p:spPr>
          <p:txBody>
            <a:bodyPr wrap="none" lIns="0">
              <a:spAutoFit/>
            </a:bodyPr>
            <a:lstStyle/>
            <a:p>
              <a:pPr algn="ctr" defTabSz="932563" rtl="0">
                <a:defRPr/>
              </a:pPr>
              <a: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t>Découvrez la meilleure voie </a:t>
              </a:r>
              <a:b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br>
              <a: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t>pour toucher chaque acheteur</a:t>
              </a:r>
            </a:p>
          </p:txBody>
        </p:sp>
        <p:sp>
          <p:nvSpPr>
            <p:cNvPr id="114" name="Rectangle 113">
              <a:extLst>
                <a:ext uri="{FF2B5EF4-FFF2-40B4-BE49-F238E27FC236}">
                  <a16:creationId xmlns:a16="http://schemas.microsoft.com/office/drawing/2014/main" id="{72F0ABF5-EDA1-4596-BFDE-606C0C2CC77C}"/>
                </a:ext>
              </a:extLst>
            </p:cNvPr>
            <p:cNvSpPr/>
            <p:nvPr/>
          </p:nvSpPr>
          <p:spPr>
            <a:xfrm>
              <a:off x="4389361" y="5424269"/>
              <a:ext cx="3411752" cy="618627"/>
            </a:xfrm>
            <a:prstGeom prst="rect">
              <a:avLst/>
            </a:prstGeom>
          </p:spPr>
          <p:txBody>
            <a:bodyPr wrap="none" lIns="0">
              <a:spAutoFit/>
            </a:bodyPr>
            <a:lstStyle/>
            <a:p>
              <a:pPr algn="ctr" defTabSz="932563" rtl="0">
                <a:defRPr/>
              </a:pP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Trouvez toutes les personnes </a:t>
              </a:r>
              <a:b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b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prenant part à la décision d</a:t>
              </a: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a:t>
              </a: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achat</a:t>
              </a:r>
            </a:p>
          </p:txBody>
        </p:sp>
      </p:grpSp>
      <p:sp>
        <p:nvSpPr>
          <p:cNvPr id="2" name="Title 1">
            <a:extLst>
              <a:ext uri="{FF2B5EF4-FFF2-40B4-BE49-F238E27FC236}">
                <a16:creationId xmlns:a16="http://schemas.microsoft.com/office/drawing/2014/main" id="{B271C5AB-29F1-4C22-B74E-A88A836D4CF3}"/>
              </a:ext>
            </a:extLst>
          </p:cNvPr>
          <p:cNvSpPr>
            <a:spLocks noGrp="1"/>
          </p:cNvSpPr>
          <p:nvPr>
            <p:ph type="title"/>
          </p:nvPr>
        </p:nvSpPr>
        <p:spPr>
          <a:xfrm>
            <a:off x="465139" y="632780"/>
            <a:ext cx="11533187" cy="411162"/>
          </a:xfrm>
        </p:spPr>
        <p:txBody>
          <a:bodyPr/>
          <a:lstStyle/>
          <a:p>
            <a:pPr algn="l" rtl="0"/>
            <a:r>
              <a:rPr lang="fr-fr" sz="2700" b="0" i="0" u="none" baseline="0">
                <a:cs typeface="Segoe UI"/>
              </a:rPr>
              <a:t>Identifier la cible </a:t>
            </a:r>
            <a:endParaRPr lang="fr-fr"/>
          </a:p>
        </p:txBody>
      </p:sp>
      <p:grpSp>
        <p:nvGrpSpPr>
          <p:cNvPr id="11" name="Group 10">
            <a:extLst>
              <a:ext uri="{FF2B5EF4-FFF2-40B4-BE49-F238E27FC236}">
                <a16:creationId xmlns:a16="http://schemas.microsoft.com/office/drawing/2014/main" id="{AC550568-3DEE-4D9A-80C6-55B5AFDF05BA}"/>
              </a:ext>
            </a:extLst>
          </p:cNvPr>
          <p:cNvGrpSpPr/>
          <p:nvPr/>
        </p:nvGrpSpPr>
        <p:grpSpPr>
          <a:xfrm>
            <a:off x="11195070" y="391045"/>
            <a:ext cx="803626" cy="803626"/>
            <a:chOff x="10975691" y="383413"/>
            <a:chExt cx="787940" cy="787940"/>
          </a:xfrm>
        </p:grpSpPr>
        <p:sp>
          <p:nvSpPr>
            <p:cNvPr id="120" name="Oval 119">
              <a:extLst>
                <a:ext uri="{FF2B5EF4-FFF2-40B4-BE49-F238E27FC236}">
                  <a16:creationId xmlns:a16="http://schemas.microsoft.com/office/drawing/2014/main" id="{2F34FE61-36BB-4DA3-BC43-DDD9CC752615}"/>
                </a:ext>
              </a:extLst>
            </p:cNvPr>
            <p:cNvSpPr/>
            <p:nvPr/>
          </p:nvSpPr>
          <p:spPr bwMode="auto">
            <a:xfrm flipH="1">
              <a:off x="10975691" y="383413"/>
              <a:ext cx="787940" cy="787940"/>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fr-fr"/>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grpSp>
          <p:nvGrpSpPr>
            <p:cNvPr id="47" name="Group 46">
              <a:extLst>
                <a:ext uri="{FF2B5EF4-FFF2-40B4-BE49-F238E27FC236}">
                  <a16:creationId xmlns:a16="http://schemas.microsoft.com/office/drawing/2014/main" id="{51FAFEB5-12F9-4832-B709-4D357E615AED}"/>
                </a:ext>
              </a:extLst>
            </p:cNvPr>
            <p:cNvGrpSpPr/>
            <p:nvPr/>
          </p:nvGrpSpPr>
          <p:grpSpPr>
            <a:xfrm>
              <a:off x="11087539" y="627810"/>
              <a:ext cx="564244" cy="299146"/>
              <a:chOff x="7535793" y="701211"/>
              <a:chExt cx="576907" cy="305861"/>
            </a:xfrm>
            <a:solidFill>
              <a:schemeClr val="accent3"/>
            </a:solidFill>
          </p:grpSpPr>
          <p:sp>
            <p:nvSpPr>
              <p:cNvPr id="48" name="Freeform 60">
                <a:extLst>
                  <a:ext uri="{FF2B5EF4-FFF2-40B4-BE49-F238E27FC236}">
                    <a16:creationId xmlns:a16="http://schemas.microsoft.com/office/drawing/2014/main" id="{862A77DD-2F20-4025-9121-75BDA2AD1A91}"/>
                  </a:ext>
                </a:extLst>
              </p:cNvPr>
              <p:cNvSpPr>
                <a:spLocks/>
              </p:cNvSpPr>
              <p:nvPr/>
            </p:nvSpPr>
            <p:spPr bwMode="auto">
              <a:xfrm>
                <a:off x="7709859" y="701211"/>
                <a:ext cx="164120" cy="164120"/>
              </a:xfrm>
              <a:custGeom>
                <a:avLst/>
                <a:gdLst>
                  <a:gd name="T0" fmla="*/ 53 w 106"/>
                  <a:gd name="T1" fmla="*/ 106 h 106"/>
                  <a:gd name="T2" fmla="*/ 53 w 106"/>
                  <a:gd name="T3" fmla="*/ 106 h 106"/>
                  <a:gd name="T4" fmla="*/ 106 w 106"/>
                  <a:gd name="T5" fmla="*/ 53 h 106"/>
                  <a:gd name="T6" fmla="*/ 75 w 106"/>
                  <a:gd name="T7" fmla="*/ 5 h 106"/>
                  <a:gd name="T8" fmla="*/ 53 w 106"/>
                  <a:gd name="T9" fmla="*/ 0 h 106"/>
                  <a:gd name="T10" fmla="*/ 31 w 106"/>
                  <a:gd name="T11" fmla="*/ 5 h 106"/>
                  <a:gd name="T12" fmla="*/ 0 w 106"/>
                  <a:gd name="T13" fmla="*/ 53 h 106"/>
                  <a:gd name="T14" fmla="*/ 53 w 106"/>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53" y="106"/>
                    </a:moveTo>
                    <a:lnTo>
                      <a:pt x="53" y="106"/>
                    </a:lnTo>
                    <a:cubicBezTo>
                      <a:pt x="82" y="106"/>
                      <a:pt x="106" y="83"/>
                      <a:pt x="106" y="53"/>
                    </a:cubicBezTo>
                    <a:cubicBezTo>
                      <a:pt x="106" y="31"/>
                      <a:pt x="93" y="13"/>
                      <a:pt x="75" y="5"/>
                    </a:cubicBezTo>
                    <a:cubicBezTo>
                      <a:pt x="68" y="2"/>
                      <a:pt x="61" y="0"/>
                      <a:pt x="53" y="0"/>
                    </a:cubicBezTo>
                    <a:cubicBezTo>
                      <a:pt x="45" y="0"/>
                      <a:pt x="38" y="2"/>
                      <a:pt x="31" y="5"/>
                    </a:cubicBezTo>
                    <a:cubicBezTo>
                      <a:pt x="13" y="13"/>
                      <a:pt x="0" y="31"/>
                      <a:pt x="0" y="53"/>
                    </a:cubicBezTo>
                    <a:cubicBezTo>
                      <a:pt x="0" y="83"/>
                      <a:pt x="24" y="106"/>
                      <a:pt x="53" y="10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sp>
            <p:nvSpPr>
              <p:cNvPr id="52" name="Freeform 61">
                <a:extLst>
                  <a:ext uri="{FF2B5EF4-FFF2-40B4-BE49-F238E27FC236}">
                    <a16:creationId xmlns:a16="http://schemas.microsoft.com/office/drawing/2014/main" id="{46C21712-B73F-42D1-AF37-56F727D7740F}"/>
                  </a:ext>
                </a:extLst>
              </p:cNvPr>
              <p:cNvSpPr>
                <a:spLocks/>
              </p:cNvSpPr>
              <p:nvPr/>
            </p:nvSpPr>
            <p:spPr bwMode="auto">
              <a:xfrm>
                <a:off x="7670073" y="885225"/>
                <a:ext cx="246180" cy="121847"/>
              </a:xfrm>
              <a:custGeom>
                <a:avLst/>
                <a:gdLst>
                  <a:gd name="T0" fmla="*/ 80 w 160"/>
                  <a:gd name="T1" fmla="*/ 0 h 80"/>
                  <a:gd name="T2" fmla="*/ 80 w 160"/>
                  <a:gd name="T3" fmla="*/ 0 h 80"/>
                  <a:gd name="T4" fmla="*/ 0 w 160"/>
                  <a:gd name="T5" fmla="*/ 80 h 80"/>
                  <a:gd name="T6" fmla="*/ 160 w 160"/>
                  <a:gd name="T7" fmla="*/ 80 h 80"/>
                  <a:gd name="T8" fmla="*/ 80 w 160"/>
                  <a:gd name="T9" fmla="*/ 0 h 80"/>
                </a:gdLst>
                <a:ahLst/>
                <a:cxnLst>
                  <a:cxn ang="0">
                    <a:pos x="T0" y="T1"/>
                  </a:cxn>
                  <a:cxn ang="0">
                    <a:pos x="T2" y="T3"/>
                  </a:cxn>
                  <a:cxn ang="0">
                    <a:pos x="T4" y="T5"/>
                  </a:cxn>
                  <a:cxn ang="0">
                    <a:pos x="T6" y="T7"/>
                  </a:cxn>
                  <a:cxn ang="0">
                    <a:pos x="T8" y="T9"/>
                  </a:cxn>
                </a:cxnLst>
                <a:rect l="0" t="0" r="r" b="b"/>
                <a:pathLst>
                  <a:path w="160" h="80">
                    <a:moveTo>
                      <a:pt x="80" y="0"/>
                    </a:moveTo>
                    <a:lnTo>
                      <a:pt x="80" y="0"/>
                    </a:lnTo>
                    <a:cubicBezTo>
                      <a:pt x="36" y="0"/>
                      <a:pt x="0" y="36"/>
                      <a:pt x="0" y="80"/>
                    </a:cubicBezTo>
                    <a:lnTo>
                      <a:pt x="160" y="80"/>
                    </a:lnTo>
                    <a:cubicBezTo>
                      <a:pt x="160" y="36"/>
                      <a:pt x="124" y="0"/>
                      <a:pt x="80"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sp>
            <p:nvSpPr>
              <p:cNvPr id="53" name="Freeform 62">
                <a:extLst>
                  <a:ext uri="{FF2B5EF4-FFF2-40B4-BE49-F238E27FC236}">
                    <a16:creationId xmlns:a16="http://schemas.microsoft.com/office/drawing/2014/main" id="{AE452C71-FB8E-42AD-AE4D-C17F9628C0B8}"/>
                  </a:ext>
                </a:extLst>
              </p:cNvPr>
              <p:cNvSpPr>
                <a:spLocks/>
              </p:cNvSpPr>
              <p:nvPr/>
            </p:nvSpPr>
            <p:spPr bwMode="auto">
              <a:xfrm>
                <a:off x="7535793" y="927498"/>
                <a:ext cx="114387" cy="79573"/>
              </a:xfrm>
              <a:custGeom>
                <a:avLst/>
                <a:gdLst>
                  <a:gd name="T0" fmla="*/ 0 w 75"/>
                  <a:gd name="T1" fmla="*/ 53 h 53"/>
                  <a:gd name="T2" fmla="*/ 0 w 75"/>
                  <a:gd name="T3" fmla="*/ 53 h 53"/>
                  <a:gd name="T4" fmla="*/ 63 w 75"/>
                  <a:gd name="T5" fmla="*/ 53 h 53"/>
                  <a:gd name="T6" fmla="*/ 63 w 75"/>
                  <a:gd name="T7" fmla="*/ 53 h 53"/>
                  <a:gd name="T8" fmla="*/ 75 w 75"/>
                  <a:gd name="T9" fmla="*/ 5 h 53"/>
                  <a:gd name="T10" fmla="*/ 54 w 75"/>
                  <a:gd name="T11" fmla="*/ 0 h 53"/>
                  <a:gd name="T12" fmla="*/ 0 w 75"/>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75" h="53">
                    <a:moveTo>
                      <a:pt x="0" y="53"/>
                    </a:moveTo>
                    <a:lnTo>
                      <a:pt x="0" y="53"/>
                    </a:lnTo>
                    <a:lnTo>
                      <a:pt x="63" y="53"/>
                    </a:lnTo>
                    <a:lnTo>
                      <a:pt x="63" y="53"/>
                    </a:lnTo>
                    <a:cubicBezTo>
                      <a:pt x="63" y="36"/>
                      <a:pt x="67" y="19"/>
                      <a:pt x="75" y="5"/>
                    </a:cubicBezTo>
                    <a:cubicBezTo>
                      <a:pt x="68" y="2"/>
                      <a:pt x="61" y="0"/>
                      <a:pt x="54" y="0"/>
                    </a:cubicBezTo>
                    <a:cubicBezTo>
                      <a:pt x="24" y="0"/>
                      <a:pt x="0" y="24"/>
                      <a:pt x="0" y="53"/>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sp>
            <p:nvSpPr>
              <p:cNvPr id="54" name="Freeform 63">
                <a:extLst>
                  <a:ext uri="{FF2B5EF4-FFF2-40B4-BE49-F238E27FC236}">
                    <a16:creationId xmlns:a16="http://schemas.microsoft.com/office/drawing/2014/main" id="{FCCEC8EF-A6D4-4500-8007-231FFAAD02B2}"/>
                  </a:ext>
                </a:extLst>
              </p:cNvPr>
              <p:cNvSpPr>
                <a:spLocks/>
              </p:cNvSpPr>
              <p:nvPr/>
            </p:nvSpPr>
            <p:spPr bwMode="auto">
              <a:xfrm>
                <a:off x="7555686" y="783271"/>
                <a:ext cx="124333" cy="121847"/>
              </a:xfrm>
              <a:custGeom>
                <a:avLst/>
                <a:gdLst>
                  <a:gd name="T0" fmla="*/ 40 w 80"/>
                  <a:gd name="T1" fmla="*/ 0 h 80"/>
                  <a:gd name="T2" fmla="*/ 40 w 80"/>
                  <a:gd name="T3" fmla="*/ 0 h 80"/>
                  <a:gd name="T4" fmla="*/ 0 w 80"/>
                  <a:gd name="T5" fmla="*/ 40 h 80"/>
                  <a:gd name="T6" fmla="*/ 14 w 80"/>
                  <a:gd name="T7" fmla="*/ 71 h 80"/>
                  <a:gd name="T8" fmla="*/ 37 w 80"/>
                  <a:gd name="T9" fmla="*/ 80 h 80"/>
                  <a:gd name="T10" fmla="*/ 40 w 80"/>
                  <a:gd name="T11" fmla="*/ 80 h 80"/>
                  <a:gd name="T12" fmla="*/ 42 w 80"/>
                  <a:gd name="T13" fmla="*/ 80 h 80"/>
                  <a:gd name="T14" fmla="*/ 65 w 80"/>
                  <a:gd name="T15" fmla="*/ 71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lnTo>
                      <a:pt x="40" y="0"/>
                    </a:lnTo>
                    <a:cubicBezTo>
                      <a:pt x="17" y="0"/>
                      <a:pt x="0" y="18"/>
                      <a:pt x="0" y="40"/>
                    </a:cubicBezTo>
                    <a:cubicBezTo>
                      <a:pt x="0" y="53"/>
                      <a:pt x="5" y="63"/>
                      <a:pt x="14" y="71"/>
                    </a:cubicBezTo>
                    <a:cubicBezTo>
                      <a:pt x="20" y="76"/>
                      <a:pt x="28" y="80"/>
                      <a:pt x="37" y="80"/>
                    </a:cubicBezTo>
                    <a:cubicBezTo>
                      <a:pt x="38" y="80"/>
                      <a:pt x="39" y="80"/>
                      <a:pt x="40" y="80"/>
                    </a:cubicBezTo>
                    <a:cubicBezTo>
                      <a:pt x="40" y="80"/>
                      <a:pt x="41" y="80"/>
                      <a:pt x="42" y="80"/>
                    </a:cubicBezTo>
                    <a:cubicBezTo>
                      <a:pt x="51" y="80"/>
                      <a:pt x="59" y="76"/>
                      <a:pt x="65" y="71"/>
                    </a:cubicBezTo>
                    <a:cubicBezTo>
                      <a:pt x="74" y="63"/>
                      <a:pt x="80" y="53"/>
                      <a:pt x="80" y="40"/>
                    </a:cubicBezTo>
                    <a:cubicBezTo>
                      <a:pt x="80" y="18"/>
                      <a:pt x="62" y="0"/>
                      <a:pt x="40" y="0"/>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sp>
            <p:nvSpPr>
              <p:cNvPr id="55" name="Freeform 64">
                <a:extLst>
                  <a:ext uri="{FF2B5EF4-FFF2-40B4-BE49-F238E27FC236}">
                    <a16:creationId xmlns:a16="http://schemas.microsoft.com/office/drawing/2014/main" id="{FD0FEEB0-35E0-434D-B748-A791CBD63E76}"/>
                  </a:ext>
                </a:extLst>
              </p:cNvPr>
              <p:cNvSpPr>
                <a:spLocks/>
              </p:cNvSpPr>
              <p:nvPr/>
            </p:nvSpPr>
            <p:spPr bwMode="auto">
              <a:xfrm>
                <a:off x="7908793" y="760891"/>
                <a:ext cx="203907" cy="206393"/>
              </a:xfrm>
              <a:custGeom>
                <a:avLst/>
                <a:gdLst>
                  <a:gd name="T0" fmla="*/ 80 w 133"/>
                  <a:gd name="T1" fmla="*/ 53 h 133"/>
                  <a:gd name="T2" fmla="*/ 80 w 133"/>
                  <a:gd name="T3" fmla="*/ 53 h 133"/>
                  <a:gd name="T4" fmla="*/ 80 w 133"/>
                  <a:gd name="T5" fmla="*/ 0 h 133"/>
                  <a:gd name="T6" fmla="*/ 53 w 133"/>
                  <a:gd name="T7" fmla="*/ 0 h 133"/>
                  <a:gd name="T8" fmla="*/ 53 w 133"/>
                  <a:gd name="T9" fmla="*/ 53 h 133"/>
                  <a:gd name="T10" fmla="*/ 0 w 133"/>
                  <a:gd name="T11" fmla="*/ 53 h 133"/>
                  <a:gd name="T12" fmla="*/ 0 w 133"/>
                  <a:gd name="T13" fmla="*/ 80 h 133"/>
                  <a:gd name="T14" fmla="*/ 53 w 133"/>
                  <a:gd name="T15" fmla="*/ 80 h 133"/>
                  <a:gd name="T16" fmla="*/ 53 w 133"/>
                  <a:gd name="T17" fmla="*/ 80 h 133"/>
                  <a:gd name="T18" fmla="*/ 53 w 133"/>
                  <a:gd name="T19" fmla="*/ 133 h 133"/>
                  <a:gd name="T20" fmla="*/ 80 w 133"/>
                  <a:gd name="T21" fmla="*/ 133 h 133"/>
                  <a:gd name="T22" fmla="*/ 80 w 133"/>
                  <a:gd name="T23" fmla="*/ 80 h 133"/>
                  <a:gd name="T24" fmla="*/ 80 w 133"/>
                  <a:gd name="T25" fmla="*/ 80 h 133"/>
                  <a:gd name="T26" fmla="*/ 133 w 133"/>
                  <a:gd name="T27" fmla="*/ 80 h 133"/>
                  <a:gd name="T28" fmla="*/ 133 w 133"/>
                  <a:gd name="T29" fmla="*/ 53 h 133"/>
                  <a:gd name="T30" fmla="*/ 80 w 133"/>
                  <a:gd name="T31" fmla="*/ 5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133">
                    <a:moveTo>
                      <a:pt x="80" y="53"/>
                    </a:moveTo>
                    <a:lnTo>
                      <a:pt x="80" y="53"/>
                    </a:lnTo>
                    <a:lnTo>
                      <a:pt x="80" y="0"/>
                    </a:lnTo>
                    <a:lnTo>
                      <a:pt x="53" y="0"/>
                    </a:lnTo>
                    <a:lnTo>
                      <a:pt x="53" y="53"/>
                    </a:lnTo>
                    <a:lnTo>
                      <a:pt x="0" y="53"/>
                    </a:lnTo>
                    <a:lnTo>
                      <a:pt x="0" y="80"/>
                    </a:lnTo>
                    <a:lnTo>
                      <a:pt x="53" y="80"/>
                    </a:lnTo>
                    <a:lnTo>
                      <a:pt x="53" y="80"/>
                    </a:lnTo>
                    <a:lnTo>
                      <a:pt x="53" y="133"/>
                    </a:lnTo>
                    <a:lnTo>
                      <a:pt x="80" y="133"/>
                    </a:lnTo>
                    <a:lnTo>
                      <a:pt x="80" y="80"/>
                    </a:lnTo>
                    <a:lnTo>
                      <a:pt x="80" y="80"/>
                    </a:lnTo>
                    <a:lnTo>
                      <a:pt x="133" y="80"/>
                    </a:lnTo>
                    <a:lnTo>
                      <a:pt x="133" y="53"/>
                    </a:lnTo>
                    <a:lnTo>
                      <a:pt x="80" y="53"/>
                    </a:lnTo>
                    <a:close/>
                  </a:path>
                </a:pathLst>
              </a:custGeom>
              <a:solidFill>
                <a:schemeClr val="accent5"/>
              </a:solidFill>
              <a:ln w="0">
                <a:noFill/>
                <a:prstDash val="solid"/>
                <a:round/>
                <a:headEnd/>
                <a:tailEnd/>
              </a:ln>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grpSp>
      </p:grpSp>
      <p:grpSp>
        <p:nvGrpSpPr>
          <p:cNvPr id="13" name="Group 12">
            <a:extLst>
              <a:ext uri="{FF2B5EF4-FFF2-40B4-BE49-F238E27FC236}">
                <a16:creationId xmlns:a16="http://schemas.microsoft.com/office/drawing/2014/main" id="{52B53742-FC82-49DB-BC38-C7F99944D7CF}"/>
              </a:ext>
            </a:extLst>
          </p:cNvPr>
          <p:cNvGrpSpPr/>
          <p:nvPr/>
        </p:nvGrpSpPr>
        <p:grpSpPr>
          <a:xfrm>
            <a:off x="2086000" y="4179669"/>
            <a:ext cx="1084962" cy="1084962"/>
            <a:chOff x="2086000" y="4179669"/>
            <a:chExt cx="1084962" cy="1084962"/>
          </a:xfrm>
        </p:grpSpPr>
        <p:sp>
          <p:nvSpPr>
            <p:cNvPr id="86" name="Oval 85">
              <a:extLst>
                <a:ext uri="{FF2B5EF4-FFF2-40B4-BE49-F238E27FC236}">
                  <a16:creationId xmlns:a16="http://schemas.microsoft.com/office/drawing/2014/main" id="{A1ACAB63-3D7C-49F6-8387-779B503988D3}"/>
                </a:ext>
              </a:extLst>
            </p:cNvPr>
            <p:cNvSpPr/>
            <p:nvPr/>
          </p:nvSpPr>
          <p:spPr bwMode="auto">
            <a:xfrm>
              <a:off x="2086000" y="4179669"/>
              <a:ext cx="1084962" cy="1084962"/>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pic>
          <p:nvPicPr>
            <p:cNvPr id="126" name="Picture 125">
              <a:extLst>
                <a:ext uri="{FF2B5EF4-FFF2-40B4-BE49-F238E27FC236}">
                  <a16:creationId xmlns:a16="http://schemas.microsoft.com/office/drawing/2014/main" id="{2E5BD671-FE05-4759-8EC3-596A6E1477F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2306666" y="4426365"/>
              <a:ext cx="617370" cy="617370"/>
            </a:xfrm>
            <a:prstGeom prst="rect">
              <a:avLst/>
            </a:prstGeom>
          </p:spPr>
        </p:pic>
      </p:grpSp>
      <p:sp>
        <p:nvSpPr>
          <p:cNvPr id="84" name="Oval 83">
            <a:extLst>
              <a:ext uri="{FF2B5EF4-FFF2-40B4-BE49-F238E27FC236}">
                <a16:creationId xmlns:a16="http://schemas.microsoft.com/office/drawing/2014/main" id="{8C620BCF-F1C2-4722-BE85-407D885D866A}"/>
              </a:ext>
            </a:extLst>
          </p:cNvPr>
          <p:cNvSpPr>
            <a:spLocks noChangeAspect="1"/>
          </p:cNvSpPr>
          <p:nvPr/>
        </p:nvSpPr>
        <p:spPr bwMode="auto">
          <a:xfrm rot="8069614">
            <a:off x="3113569" y="1793023"/>
            <a:ext cx="731520" cy="731520"/>
          </a:xfrm>
          <a:prstGeom prst="ellipse">
            <a:avLst/>
          </a:prstGeom>
          <a:solidFill>
            <a:schemeClr val="accent2">
              <a:alpha val="67843"/>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sp>
        <p:nvSpPr>
          <p:cNvPr id="132" name="Freeform: Shape 131">
            <a:extLst>
              <a:ext uri="{FF2B5EF4-FFF2-40B4-BE49-F238E27FC236}">
                <a16:creationId xmlns:a16="http://schemas.microsoft.com/office/drawing/2014/main" id="{18634CA3-4D98-4287-842C-1EC962B57C31}"/>
              </a:ext>
            </a:extLst>
          </p:cNvPr>
          <p:cNvSpPr/>
          <p:nvPr/>
        </p:nvSpPr>
        <p:spPr bwMode="auto">
          <a:xfrm rot="7589581">
            <a:off x="1613219" y="1631416"/>
            <a:ext cx="2148608" cy="1647118"/>
          </a:xfrm>
          <a:custGeom>
            <a:avLst/>
            <a:gdLst>
              <a:gd name="connsiteX0" fmla="*/ 372403 w 2106670"/>
              <a:gd name="connsiteY0" fmla="*/ 0 h 1665382"/>
              <a:gd name="connsiteX1" fmla="*/ 429894 w 2106670"/>
              <a:gd name="connsiteY1" fmla="*/ 5796 h 1665382"/>
              <a:gd name="connsiteX2" fmla="*/ 430022 w 2106670"/>
              <a:gd name="connsiteY2" fmla="*/ 5440 h 1665382"/>
              <a:gd name="connsiteX3" fmla="*/ 2106670 w 2106670"/>
              <a:gd name="connsiteY3" fmla="*/ 166415 h 1665382"/>
              <a:gd name="connsiteX4" fmla="*/ 1878070 w 2106670"/>
              <a:gd name="connsiteY4" fmla="*/ 1665382 h 1665382"/>
              <a:gd name="connsiteX5" fmla="*/ 195120 w 2106670"/>
              <a:gd name="connsiteY5" fmla="*/ 697994 h 1665382"/>
              <a:gd name="connsiteX6" fmla="*/ 164189 w 2106670"/>
              <a:gd name="connsiteY6" fmla="*/ 681205 h 1665382"/>
              <a:gd name="connsiteX7" fmla="*/ 0 w 2106670"/>
              <a:gd name="connsiteY7" fmla="*/ 372403 h 1665382"/>
              <a:gd name="connsiteX8" fmla="*/ 372403 w 2106670"/>
              <a:gd name="connsiteY8" fmla="*/ 0 h 166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6670" h="1665382">
                <a:moveTo>
                  <a:pt x="372403" y="0"/>
                </a:moveTo>
                <a:lnTo>
                  <a:pt x="429894" y="5796"/>
                </a:lnTo>
                <a:lnTo>
                  <a:pt x="430022" y="5440"/>
                </a:lnTo>
                <a:lnTo>
                  <a:pt x="2106670" y="166415"/>
                </a:lnTo>
                <a:lnTo>
                  <a:pt x="1878070" y="1665382"/>
                </a:lnTo>
                <a:lnTo>
                  <a:pt x="195120" y="697994"/>
                </a:lnTo>
                <a:lnTo>
                  <a:pt x="164189" y="681205"/>
                </a:lnTo>
                <a:cubicBezTo>
                  <a:pt x="65129" y="614282"/>
                  <a:pt x="0" y="500948"/>
                  <a:pt x="0" y="372403"/>
                </a:cubicBezTo>
                <a:cubicBezTo>
                  <a:pt x="0" y="166731"/>
                  <a:pt x="166731" y="0"/>
                  <a:pt x="372403" y="0"/>
                </a:cubicBezTo>
                <a:close/>
              </a:path>
            </a:pathLst>
          </a:custGeom>
          <a:solidFill>
            <a:schemeClr val="accent2">
              <a:alpha val="37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grpSp>
        <p:nvGrpSpPr>
          <p:cNvPr id="24" name="Group 23">
            <a:extLst>
              <a:ext uri="{FF2B5EF4-FFF2-40B4-BE49-F238E27FC236}">
                <a16:creationId xmlns:a16="http://schemas.microsoft.com/office/drawing/2014/main" id="{C171F8ED-B5A9-4917-AF99-BAA1B778DBF6}"/>
              </a:ext>
            </a:extLst>
          </p:cNvPr>
          <p:cNvGrpSpPr/>
          <p:nvPr/>
        </p:nvGrpSpPr>
        <p:grpSpPr>
          <a:xfrm>
            <a:off x="8296017" y="2077710"/>
            <a:ext cx="2808026" cy="1995317"/>
            <a:chOff x="8465999" y="2259908"/>
            <a:chExt cx="2808026" cy="1995317"/>
          </a:xfrm>
        </p:grpSpPr>
        <p:sp>
          <p:nvSpPr>
            <p:cNvPr id="139" name="Freeform: Shape 138">
              <a:extLst>
                <a:ext uri="{FF2B5EF4-FFF2-40B4-BE49-F238E27FC236}">
                  <a16:creationId xmlns:a16="http://schemas.microsoft.com/office/drawing/2014/main" id="{9791AC75-6EC2-4FB1-AA82-73F471BA1A2D}"/>
                </a:ext>
              </a:extLst>
            </p:cNvPr>
            <p:cNvSpPr/>
            <p:nvPr/>
          </p:nvSpPr>
          <p:spPr bwMode="auto">
            <a:xfrm rot="8691648">
              <a:off x="9075091" y="2259908"/>
              <a:ext cx="2198934" cy="1220192"/>
            </a:xfrm>
            <a:custGeom>
              <a:avLst/>
              <a:gdLst>
                <a:gd name="connsiteX0" fmla="*/ 372403 w 2106670"/>
                <a:gd name="connsiteY0" fmla="*/ 0 h 1665382"/>
                <a:gd name="connsiteX1" fmla="*/ 429894 w 2106670"/>
                <a:gd name="connsiteY1" fmla="*/ 5796 h 1665382"/>
                <a:gd name="connsiteX2" fmla="*/ 430022 w 2106670"/>
                <a:gd name="connsiteY2" fmla="*/ 5440 h 1665382"/>
                <a:gd name="connsiteX3" fmla="*/ 2106670 w 2106670"/>
                <a:gd name="connsiteY3" fmla="*/ 166415 h 1665382"/>
                <a:gd name="connsiteX4" fmla="*/ 1878070 w 2106670"/>
                <a:gd name="connsiteY4" fmla="*/ 1665382 h 1665382"/>
                <a:gd name="connsiteX5" fmla="*/ 195120 w 2106670"/>
                <a:gd name="connsiteY5" fmla="*/ 697994 h 1665382"/>
                <a:gd name="connsiteX6" fmla="*/ 164189 w 2106670"/>
                <a:gd name="connsiteY6" fmla="*/ 681205 h 1665382"/>
                <a:gd name="connsiteX7" fmla="*/ 0 w 2106670"/>
                <a:gd name="connsiteY7" fmla="*/ 372403 h 1665382"/>
                <a:gd name="connsiteX8" fmla="*/ 372403 w 2106670"/>
                <a:gd name="connsiteY8" fmla="*/ 0 h 1665382"/>
                <a:gd name="connsiteX0" fmla="*/ 372403 w 2106670"/>
                <a:gd name="connsiteY0" fmla="*/ 0 h 1377788"/>
                <a:gd name="connsiteX1" fmla="*/ 429894 w 2106670"/>
                <a:gd name="connsiteY1" fmla="*/ 5796 h 1377788"/>
                <a:gd name="connsiteX2" fmla="*/ 430022 w 2106670"/>
                <a:gd name="connsiteY2" fmla="*/ 5440 h 1377788"/>
                <a:gd name="connsiteX3" fmla="*/ 2106670 w 2106670"/>
                <a:gd name="connsiteY3" fmla="*/ 166415 h 1377788"/>
                <a:gd name="connsiteX4" fmla="*/ 1354039 w 2106670"/>
                <a:gd name="connsiteY4" fmla="*/ 1377788 h 1377788"/>
                <a:gd name="connsiteX5" fmla="*/ 195120 w 2106670"/>
                <a:gd name="connsiteY5" fmla="*/ 697994 h 1377788"/>
                <a:gd name="connsiteX6" fmla="*/ 164189 w 2106670"/>
                <a:gd name="connsiteY6" fmla="*/ 681205 h 1377788"/>
                <a:gd name="connsiteX7" fmla="*/ 0 w 2106670"/>
                <a:gd name="connsiteY7" fmla="*/ 372403 h 1377788"/>
                <a:gd name="connsiteX8" fmla="*/ 372403 w 2106670"/>
                <a:gd name="connsiteY8" fmla="*/ 0 h 1377788"/>
                <a:gd name="connsiteX0" fmla="*/ 372403 w 1801441"/>
                <a:gd name="connsiteY0" fmla="*/ 111769 h 1489557"/>
                <a:gd name="connsiteX1" fmla="*/ 429894 w 1801441"/>
                <a:gd name="connsiteY1" fmla="*/ 117565 h 1489557"/>
                <a:gd name="connsiteX2" fmla="*/ 430022 w 1801441"/>
                <a:gd name="connsiteY2" fmla="*/ 117209 h 1489557"/>
                <a:gd name="connsiteX3" fmla="*/ 1801441 w 1801441"/>
                <a:gd name="connsiteY3" fmla="*/ 0 h 1489557"/>
                <a:gd name="connsiteX4" fmla="*/ 1354039 w 1801441"/>
                <a:gd name="connsiteY4" fmla="*/ 1489557 h 1489557"/>
                <a:gd name="connsiteX5" fmla="*/ 195120 w 1801441"/>
                <a:gd name="connsiteY5" fmla="*/ 809763 h 1489557"/>
                <a:gd name="connsiteX6" fmla="*/ 164189 w 1801441"/>
                <a:gd name="connsiteY6" fmla="*/ 792974 h 1489557"/>
                <a:gd name="connsiteX7" fmla="*/ 0 w 1801441"/>
                <a:gd name="connsiteY7" fmla="*/ 484172 h 1489557"/>
                <a:gd name="connsiteX8" fmla="*/ 372403 w 1801441"/>
                <a:gd name="connsiteY8" fmla="*/ 111769 h 148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1441" h="1489557">
                  <a:moveTo>
                    <a:pt x="372403" y="111769"/>
                  </a:moveTo>
                  <a:lnTo>
                    <a:pt x="429894" y="117565"/>
                  </a:lnTo>
                  <a:cubicBezTo>
                    <a:pt x="429937" y="117446"/>
                    <a:pt x="429979" y="117328"/>
                    <a:pt x="430022" y="117209"/>
                  </a:cubicBezTo>
                  <a:lnTo>
                    <a:pt x="1801441" y="0"/>
                  </a:lnTo>
                  <a:lnTo>
                    <a:pt x="1354039" y="1489557"/>
                  </a:lnTo>
                  <a:lnTo>
                    <a:pt x="195120" y="809763"/>
                  </a:lnTo>
                  <a:lnTo>
                    <a:pt x="164189" y="792974"/>
                  </a:lnTo>
                  <a:cubicBezTo>
                    <a:pt x="65129" y="726051"/>
                    <a:pt x="0" y="612717"/>
                    <a:pt x="0" y="484172"/>
                  </a:cubicBezTo>
                  <a:cubicBezTo>
                    <a:pt x="0" y="278500"/>
                    <a:pt x="166731" y="111769"/>
                    <a:pt x="372403" y="111769"/>
                  </a:cubicBezTo>
                  <a:close/>
                </a:path>
              </a:pathLst>
            </a:custGeom>
            <a:solidFill>
              <a:schemeClr val="accent2">
                <a:alpha val="37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pic>
          <p:nvPicPr>
            <p:cNvPr id="67" name="Picture 66" descr="A screenshot of a social media post&#10;&#10;Description automatically generated">
              <a:extLst>
                <a:ext uri="{FF2B5EF4-FFF2-40B4-BE49-F238E27FC236}">
                  <a16:creationId xmlns:a16="http://schemas.microsoft.com/office/drawing/2014/main" id="{5F741307-DF35-462A-A6D6-F8D287A268AE}"/>
                </a:ext>
              </a:extLst>
            </p:cNvPr>
            <p:cNvPicPr>
              <a:picLocks noChangeAspect="1"/>
            </p:cNvPicPr>
            <p:nvPr/>
          </p:nvPicPr>
          <p:blipFill rotWithShape="1">
            <a:blip r:embed="rId4">
              <a:extLst>
                <a:ext uri="{28A0092B-C50C-407E-A947-70E740481C1C}">
                  <a14:useLocalDpi xmlns:a14="http://schemas.microsoft.com/office/drawing/2010/main" val="0"/>
                </a:ext>
              </a:extLst>
            </a:blip>
            <a:srcRect l="77099" t="23436" r="1776" b="39490"/>
            <a:stretch/>
          </p:blipFill>
          <p:spPr>
            <a:xfrm>
              <a:off x="8465999" y="2700745"/>
              <a:ext cx="1554480" cy="1554480"/>
            </a:xfrm>
            <a:prstGeom prst="ellipse">
              <a:avLst/>
            </a:prstGeom>
            <a:ln w="38100">
              <a:solidFill>
                <a:schemeClr val="tx1"/>
              </a:solidFill>
            </a:ln>
            <a:effectLst>
              <a:outerShdw blurRad="254000" dist="76200" dir="2700000" algn="ctr" rotWithShape="0">
                <a:srgbClr val="000000">
                  <a:alpha val="40000"/>
                </a:srgbClr>
              </a:outerShdw>
            </a:effectLst>
          </p:spPr>
        </p:pic>
      </p:grpSp>
      <p:grpSp>
        <p:nvGrpSpPr>
          <p:cNvPr id="23" name="Group 22">
            <a:extLst>
              <a:ext uri="{FF2B5EF4-FFF2-40B4-BE49-F238E27FC236}">
                <a16:creationId xmlns:a16="http://schemas.microsoft.com/office/drawing/2014/main" id="{5FD47E1E-C43C-45D4-93A2-68EFE7737CAA}"/>
              </a:ext>
            </a:extLst>
          </p:cNvPr>
          <p:cNvGrpSpPr/>
          <p:nvPr/>
        </p:nvGrpSpPr>
        <p:grpSpPr>
          <a:xfrm>
            <a:off x="4782721" y="1668058"/>
            <a:ext cx="3006684" cy="2265700"/>
            <a:chOff x="4898601" y="1760079"/>
            <a:chExt cx="3006684" cy="2265700"/>
          </a:xfrm>
        </p:grpSpPr>
        <p:grpSp>
          <p:nvGrpSpPr>
            <p:cNvPr id="134" name="Group 133">
              <a:extLst>
                <a:ext uri="{FF2B5EF4-FFF2-40B4-BE49-F238E27FC236}">
                  <a16:creationId xmlns:a16="http://schemas.microsoft.com/office/drawing/2014/main" id="{747838E6-FB8B-40E9-BFBA-010A1380DF08}"/>
                </a:ext>
              </a:extLst>
            </p:cNvPr>
            <p:cNvGrpSpPr/>
            <p:nvPr/>
          </p:nvGrpSpPr>
          <p:grpSpPr>
            <a:xfrm rot="13036852" flipH="1">
              <a:off x="4898601" y="1760079"/>
              <a:ext cx="2159685" cy="1539462"/>
              <a:chOff x="904886" y="2189160"/>
              <a:chExt cx="2117531" cy="1509414"/>
            </a:xfrm>
          </p:grpSpPr>
          <p:sp>
            <p:nvSpPr>
              <p:cNvPr id="135" name="Oval 134">
                <a:extLst>
                  <a:ext uri="{FF2B5EF4-FFF2-40B4-BE49-F238E27FC236}">
                    <a16:creationId xmlns:a16="http://schemas.microsoft.com/office/drawing/2014/main" id="{4DBEBFC8-4063-455F-A748-D9FFC21E7DA1}"/>
                  </a:ext>
                </a:extLst>
              </p:cNvPr>
              <p:cNvSpPr/>
              <p:nvPr/>
            </p:nvSpPr>
            <p:spPr bwMode="auto">
              <a:xfrm>
                <a:off x="904886" y="2189160"/>
                <a:ext cx="744805" cy="744805"/>
              </a:xfrm>
              <a:prstGeom prst="ellipse">
                <a:avLst/>
              </a:prstGeom>
              <a:solidFill>
                <a:schemeClr val="accent2">
                  <a:alpha val="67843"/>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sp>
            <p:nvSpPr>
              <p:cNvPr id="136" name="Freeform: Shape 135">
                <a:extLst>
                  <a:ext uri="{FF2B5EF4-FFF2-40B4-BE49-F238E27FC236}">
                    <a16:creationId xmlns:a16="http://schemas.microsoft.com/office/drawing/2014/main" id="{BA6D5D1D-571B-4194-AA10-5691FBB014EF}"/>
                  </a:ext>
                </a:extLst>
              </p:cNvPr>
              <p:cNvSpPr/>
              <p:nvPr/>
            </p:nvSpPr>
            <p:spPr bwMode="auto">
              <a:xfrm>
                <a:off x="915747" y="2228272"/>
                <a:ext cx="2106670" cy="1470302"/>
              </a:xfrm>
              <a:custGeom>
                <a:avLst/>
                <a:gdLst>
                  <a:gd name="connsiteX0" fmla="*/ 372403 w 2106670"/>
                  <a:gd name="connsiteY0" fmla="*/ 0 h 1665382"/>
                  <a:gd name="connsiteX1" fmla="*/ 429894 w 2106670"/>
                  <a:gd name="connsiteY1" fmla="*/ 5796 h 1665382"/>
                  <a:gd name="connsiteX2" fmla="*/ 430022 w 2106670"/>
                  <a:gd name="connsiteY2" fmla="*/ 5440 h 1665382"/>
                  <a:gd name="connsiteX3" fmla="*/ 2106670 w 2106670"/>
                  <a:gd name="connsiteY3" fmla="*/ 166415 h 1665382"/>
                  <a:gd name="connsiteX4" fmla="*/ 1878070 w 2106670"/>
                  <a:gd name="connsiteY4" fmla="*/ 1665382 h 1665382"/>
                  <a:gd name="connsiteX5" fmla="*/ 195120 w 2106670"/>
                  <a:gd name="connsiteY5" fmla="*/ 697994 h 1665382"/>
                  <a:gd name="connsiteX6" fmla="*/ 164189 w 2106670"/>
                  <a:gd name="connsiteY6" fmla="*/ 681205 h 1665382"/>
                  <a:gd name="connsiteX7" fmla="*/ 0 w 2106670"/>
                  <a:gd name="connsiteY7" fmla="*/ 372403 h 1665382"/>
                  <a:gd name="connsiteX8" fmla="*/ 372403 w 2106670"/>
                  <a:gd name="connsiteY8" fmla="*/ 0 h 166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6670" h="1665382">
                    <a:moveTo>
                      <a:pt x="372403" y="0"/>
                    </a:moveTo>
                    <a:lnTo>
                      <a:pt x="429894" y="5796"/>
                    </a:lnTo>
                    <a:lnTo>
                      <a:pt x="430022" y="5440"/>
                    </a:lnTo>
                    <a:lnTo>
                      <a:pt x="2106670" y="166415"/>
                    </a:lnTo>
                    <a:lnTo>
                      <a:pt x="1878070" y="1665382"/>
                    </a:lnTo>
                    <a:lnTo>
                      <a:pt x="195120" y="697994"/>
                    </a:lnTo>
                    <a:lnTo>
                      <a:pt x="164189" y="681205"/>
                    </a:lnTo>
                    <a:cubicBezTo>
                      <a:pt x="65129" y="614282"/>
                      <a:pt x="0" y="500948"/>
                      <a:pt x="0" y="372403"/>
                    </a:cubicBezTo>
                    <a:cubicBezTo>
                      <a:pt x="0" y="166731"/>
                      <a:pt x="166731" y="0"/>
                      <a:pt x="372403" y="0"/>
                    </a:cubicBezTo>
                    <a:close/>
                  </a:path>
                </a:pathLst>
              </a:custGeom>
              <a:solidFill>
                <a:schemeClr val="accent2">
                  <a:alpha val="37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grpSp>
        <p:pic>
          <p:nvPicPr>
            <p:cNvPr id="69" name="Picture 68" descr="A screenshot of a cell phone&#10;&#10;Description automatically generated">
              <a:extLst>
                <a:ext uri="{FF2B5EF4-FFF2-40B4-BE49-F238E27FC236}">
                  <a16:creationId xmlns:a16="http://schemas.microsoft.com/office/drawing/2014/main" id="{2296D8AB-2A4E-4B7B-BBF2-F98309F04BD4}"/>
                </a:ext>
              </a:extLst>
            </p:cNvPr>
            <p:cNvPicPr>
              <a:picLocks noChangeAspect="1"/>
            </p:cNvPicPr>
            <p:nvPr/>
          </p:nvPicPr>
          <p:blipFill rotWithShape="1">
            <a:blip r:embed="rId5">
              <a:extLst>
                <a:ext uri="{28A0092B-C50C-407E-A947-70E740481C1C}">
                  <a14:useLocalDpi xmlns:a14="http://schemas.microsoft.com/office/drawing/2010/main" val="0"/>
                </a:ext>
              </a:extLst>
            </a:blip>
            <a:srcRect l="12599" t="27235" r="65448" b="34234"/>
            <a:stretch/>
          </p:blipFill>
          <p:spPr>
            <a:xfrm>
              <a:off x="6350805" y="2471299"/>
              <a:ext cx="1554480" cy="1554480"/>
            </a:xfrm>
            <a:prstGeom prst="ellipse">
              <a:avLst/>
            </a:prstGeom>
            <a:ln w="38100">
              <a:solidFill>
                <a:schemeClr val="tx1"/>
              </a:solidFill>
            </a:ln>
            <a:effectLst>
              <a:outerShdw blurRad="254000" dist="76200" dir="2700000" algn="ctr" rotWithShape="0">
                <a:srgbClr val="000000">
                  <a:alpha val="40000"/>
                </a:srgbClr>
              </a:outerShdw>
            </a:effectLst>
          </p:spPr>
        </p:pic>
      </p:grpSp>
      <p:sp>
        <p:nvSpPr>
          <p:cNvPr id="138" name="Oval 137">
            <a:extLst>
              <a:ext uri="{FF2B5EF4-FFF2-40B4-BE49-F238E27FC236}">
                <a16:creationId xmlns:a16="http://schemas.microsoft.com/office/drawing/2014/main" id="{E56091AA-1A79-4241-BAD3-9CD5DA13AD05}"/>
              </a:ext>
            </a:extLst>
          </p:cNvPr>
          <p:cNvSpPr/>
          <p:nvPr/>
        </p:nvSpPr>
        <p:spPr bwMode="auto">
          <a:xfrm rot="8473823">
            <a:off x="10370984" y="2105346"/>
            <a:ext cx="703443" cy="666437"/>
          </a:xfrm>
          <a:prstGeom prst="ellipse">
            <a:avLst/>
          </a:prstGeom>
          <a:solidFill>
            <a:schemeClr val="accent2">
              <a:alpha val="67843"/>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pic>
        <p:nvPicPr>
          <p:cNvPr id="62" name="Picture 61">
            <a:extLst>
              <a:ext uri="{FF2B5EF4-FFF2-40B4-BE49-F238E27FC236}">
                <a16:creationId xmlns:a16="http://schemas.microsoft.com/office/drawing/2014/main" id="{C1E0B4FE-02A7-4F68-8613-FB9721D98FD9}"/>
              </a:ext>
            </a:extLst>
          </p:cNvPr>
          <p:cNvPicPr>
            <a:picLocks noChangeAspect="1"/>
          </p:cNvPicPr>
          <p:nvPr/>
        </p:nvPicPr>
        <p:blipFill rotWithShape="1">
          <a:blip r:embed="rId7"/>
          <a:srcRect l="67752" t="17522" r="18766" b="56350"/>
          <a:stretch/>
        </p:blipFill>
        <p:spPr>
          <a:xfrm>
            <a:off x="1161875" y="2565093"/>
            <a:ext cx="1554480" cy="1505175"/>
          </a:xfrm>
          <a:prstGeom prst="ellipse">
            <a:avLst/>
          </a:prstGeom>
          <a:ln w="38100">
            <a:solidFill>
              <a:srgbClr val="000000"/>
            </a:solidFill>
          </a:ln>
          <a:effectLst/>
        </p:spPr>
      </p:pic>
      <p:grpSp>
        <p:nvGrpSpPr>
          <p:cNvPr id="14" name="Group 13">
            <a:extLst>
              <a:ext uri="{FF2B5EF4-FFF2-40B4-BE49-F238E27FC236}">
                <a16:creationId xmlns:a16="http://schemas.microsoft.com/office/drawing/2014/main" id="{28176647-7F81-4F6C-9C7C-CBFDB8E24BC3}"/>
              </a:ext>
            </a:extLst>
          </p:cNvPr>
          <p:cNvGrpSpPr/>
          <p:nvPr/>
        </p:nvGrpSpPr>
        <p:grpSpPr>
          <a:xfrm>
            <a:off x="5645371" y="4179669"/>
            <a:ext cx="1084962" cy="1084962"/>
            <a:chOff x="5645371" y="4179669"/>
            <a:chExt cx="1084962" cy="1084962"/>
          </a:xfrm>
        </p:grpSpPr>
        <p:sp>
          <p:nvSpPr>
            <p:cNvPr id="95" name="Oval 94">
              <a:extLst>
                <a:ext uri="{FF2B5EF4-FFF2-40B4-BE49-F238E27FC236}">
                  <a16:creationId xmlns:a16="http://schemas.microsoft.com/office/drawing/2014/main" id="{15F096F8-4CAE-4BA1-A53A-A21DAC244F44}"/>
                </a:ext>
              </a:extLst>
            </p:cNvPr>
            <p:cNvSpPr/>
            <p:nvPr/>
          </p:nvSpPr>
          <p:spPr bwMode="auto">
            <a:xfrm>
              <a:off x="5645371" y="4179669"/>
              <a:ext cx="1084962" cy="1084962"/>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grpSp>
          <p:nvGrpSpPr>
            <p:cNvPr id="41" name="Group 40">
              <a:extLst>
                <a:ext uri="{FF2B5EF4-FFF2-40B4-BE49-F238E27FC236}">
                  <a16:creationId xmlns:a16="http://schemas.microsoft.com/office/drawing/2014/main" id="{5814EB32-2083-4823-9961-89BAA9675C79}"/>
                </a:ext>
              </a:extLst>
            </p:cNvPr>
            <p:cNvGrpSpPr/>
            <p:nvPr/>
          </p:nvGrpSpPr>
          <p:grpSpPr>
            <a:xfrm>
              <a:off x="5898736" y="4464710"/>
              <a:ext cx="541684" cy="479242"/>
              <a:chOff x="7786718" y="3211358"/>
              <a:chExt cx="541454" cy="488370"/>
            </a:xfrm>
          </p:grpSpPr>
          <p:sp>
            <p:nvSpPr>
              <p:cNvPr id="51" name="Oval 1043">
                <a:extLst>
                  <a:ext uri="{FF2B5EF4-FFF2-40B4-BE49-F238E27FC236}">
                    <a16:creationId xmlns:a16="http://schemas.microsoft.com/office/drawing/2014/main" id="{1B9F81FB-9709-45DC-AAC3-5F9F628BA51D}"/>
                  </a:ext>
                </a:extLst>
              </p:cNvPr>
              <p:cNvSpPr>
                <a:spLocks noChangeArrowheads="1"/>
              </p:cNvSpPr>
              <p:nvPr/>
            </p:nvSpPr>
            <p:spPr bwMode="auto">
              <a:xfrm>
                <a:off x="7850419" y="3211358"/>
                <a:ext cx="122094" cy="11678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sp>
            <p:nvSpPr>
              <p:cNvPr id="56" name="Oval 1044">
                <a:extLst>
                  <a:ext uri="{FF2B5EF4-FFF2-40B4-BE49-F238E27FC236}">
                    <a16:creationId xmlns:a16="http://schemas.microsoft.com/office/drawing/2014/main" id="{2D03751C-AC14-4DC3-AFF9-DD5872AB1F9B}"/>
                  </a:ext>
                </a:extLst>
              </p:cNvPr>
              <p:cNvSpPr>
                <a:spLocks noChangeArrowheads="1"/>
              </p:cNvSpPr>
              <p:nvPr/>
            </p:nvSpPr>
            <p:spPr bwMode="auto">
              <a:xfrm>
                <a:off x="8142381" y="3211358"/>
                <a:ext cx="116784" cy="11678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sp>
            <p:nvSpPr>
              <p:cNvPr id="57" name="Freeform 1045">
                <a:extLst>
                  <a:ext uri="{FF2B5EF4-FFF2-40B4-BE49-F238E27FC236}">
                    <a16:creationId xmlns:a16="http://schemas.microsoft.com/office/drawing/2014/main" id="{9C547B34-C1B3-446C-9A6E-85164D458473}"/>
                  </a:ext>
                </a:extLst>
              </p:cNvPr>
              <p:cNvSpPr>
                <a:spLocks/>
              </p:cNvSpPr>
              <p:nvPr/>
            </p:nvSpPr>
            <p:spPr bwMode="auto">
              <a:xfrm>
                <a:off x="8115837" y="3375916"/>
                <a:ext cx="212335" cy="122094"/>
              </a:xfrm>
              <a:custGeom>
                <a:avLst/>
                <a:gdLst>
                  <a:gd name="T0" fmla="*/ 12 w 50"/>
                  <a:gd name="T1" fmla="*/ 6 h 28"/>
                  <a:gd name="T2" fmla="*/ 0 w 50"/>
                  <a:gd name="T3" fmla="*/ 28 h 28"/>
                  <a:gd name="T4" fmla="*/ 50 w 50"/>
                  <a:gd name="T5" fmla="*/ 28 h 28"/>
                  <a:gd name="T6" fmla="*/ 20 w 50"/>
                  <a:gd name="T7" fmla="*/ 0 h 28"/>
                  <a:gd name="T8" fmla="*/ 12 w 50"/>
                  <a:gd name="T9" fmla="*/ 1 h 28"/>
                  <a:gd name="T10" fmla="*/ 12 w 50"/>
                  <a:gd name="T11" fmla="*/ 6 h 28"/>
                </a:gdLst>
                <a:ahLst/>
                <a:cxnLst>
                  <a:cxn ang="0">
                    <a:pos x="T0" y="T1"/>
                  </a:cxn>
                  <a:cxn ang="0">
                    <a:pos x="T2" y="T3"/>
                  </a:cxn>
                  <a:cxn ang="0">
                    <a:pos x="T4" y="T5"/>
                  </a:cxn>
                  <a:cxn ang="0">
                    <a:pos x="T6" y="T7"/>
                  </a:cxn>
                  <a:cxn ang="0">
                    <a:pos x="T8" y="T9"/>
                  </a:cxn>
                  <a:cxn ang="0">
                    <a:pos x="T10" y="T11"/>
                  </a:cxn>
                </a:cxnLst>
                <a:rect l="0" t="0" r="r" b="b"/>
                <a:pathLst>
                  <a:path w="50" h="28">
                    <a:moveTo>
                      <a:pt x="12" y="6"/>
                    </a:moveTo>
                    <a:cubicBezTo>
                      <a:pt x="12" y="15"/>
                      <a:pt x="7" y="23"/>
                      <a:pt x="0" y="28"/>
                    </a:cubicBezTo>
                    <a:cubicBezTo>
                      <a:pt x="50" y="28"/>
                      <a:pt x="50" y="28"/>
                      <a:pt x="50" y="28"/>
                    </a:cubicBezTo>
                    <a:cubicBezTo>
                      <a:pt x="50" y="13"/>
                      <a:pt x="37" y="0"/>
                      <a:pt x="20" y="0"/>
                    </a:cubicBezTo>
                    <a:cubicBezTo>
                      <a:pt x="17" y="0"/>
                      <a:pt x="14" y="0"/>
                      <a:pt x="12" y="1"/>
                    </a:cubicBezTo>
                    <a:cubicBezTo>
                      <a:pt x="12" y="3"/>
                      <a:pt x="12" y="4"/>
                      <a:pt x="12" y="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sp>
            <p:nvSpPr>
              <p:cNvPr id="58" name="Oval 1046">
                <a:extLst>
                  <a:ext uri="{FF2B5EF4-FFF2-40B4-BE49-F238E27FC236}">
                    <a16:creationId xmlns:a16="http://schemas.microsoft.com/office/drawing/2014/main" id="{856A9CCC-C5B2-4120-92A9-9882227096DC}"/>
                  </a:ext>
                </a:extLst>
              </p:cNvPr>
              <p:cNvSpPr>
                <a:spLocks noChangeArrowheads="1"/>
              </p:cNvSpPr>
              <p:nvPr/>
            </p:nvSpPr>
            <p:spPr bwMode="auto">
              <a:xfrm>
                <a:off x="7977820" y="3328142"/>
                <a:ext cx="153945" cy="14863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sp>
            <p:nvSpPr>
              <p:cNvPr id="59" name="Freeform 1047">
                <a:extLst>
                  <a:ext uri="{FF2B5EF4-FFF2-40B4-BE49-F238E27FC236}">
                    <a16:creationId xmlns:a16="http://schemas.microsoft.com/office/drawing/2014/main" id="{1E3D5147-BD6F-4D07-9221-F85B7240E007}"/>
                  </a:ext>
                </a:extLst>
              </p:cNvPr>
              <p:cNvSpPr>
                <a:spLocks/>
              </p:cNvSpPr>
              <p:nvPr/>
            </p:nvSpPr>
            <p:spPr bwMode="auto">
              <a:xfrm>
                <a:off x="7871652" y="3513933"/>
                <a:ext cx="371586" cy="185795"/>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20" y="0"/>
                      <a:pt x="0" y="20"/>
                      <a:pt x="0" y="44"/>
                    </a:cubicBezTo>
                    <a:cubicBezTo>
                      <a:pt x="88" y="44"/>
                      <a:pt x="88" y="44"/>
                      <a:pt x="88" y="44"/>
                    </a:cubicBezTo>
                    <a:cubicBezTo>
                      <a:pt x="88" y="20"/>
                      <a:pt x="68" y="0"/>
                      <a:pt x="44" y="0"/>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sp>
            <p:nvSpPr>
              <p:cNvPr id="60" name="Freeform 1090">
                <a:extLst>
                  <a:ext uri="{FF2B5EF4-FFF2-40B4-BE49-F238E27FC236}">
                    <a16:creationId xmlns:a16="http://schemas.microsoft.com/office/drawing/2014/main" id="{290666B1-4AA4-4B88-ABBF-89F91DDBDD50}"/>
                  </a:ext>
                </a:extLst>
              </p:cNvPr>
              <p:cNvSpPr>
                <a:spLocks/>
              </p:cNvSpPr>
              <p:nvPr/>
            </p:nvSpPr>
            <p:spPr bwMode="auto">
              <a:xfrm>
                <a:off x="7786718" y="3375916"/>
                <a:ext cx="207028" cy="122094"/>
              </a:xfrm>
              <a:custGeom>
                <a:avLst/>
                <a:gdLst>
                  <a:gd name="T0" fmla="*/ 38 w 50"/>
                  <a:gd name="T1" fmla="*/ 6 h 28"/>
                  <a:gd name="T2" fmla="*/ 38 w 50"/>
                  <a:gd name="T3" fmla="*/ 1 h 28"/>
                  <a:gd name="T4" fmla="*/ 30 w 50"/>
                  <a:gd name="T5" fmla="*/ 0 h 28"/>
                  <a:gd name="T6" fmla="*/ 0 w 50"/>
                  <a:gd name="T7" fmla="*/ 28 h 28"/>
                  <a:gd name="T8" fmla="*/ 50 w 50"/>
                  <a:gd name="T9" fmla="*/ 28 h 28"/>
                  <a:gd name="T10" fmla="*/ 38 w 50"/>
                  <a:gd name="T11" fmla="*/ 6 h 28"/>
                </a:gdLst>
                <a:ahLst/>
                <a:cxnLst>
                  <a:cxn ang="0">
                    <a:pos x="T0" y="T1"/>
                  </a:cxn>
                  <a:cxn ang="0">
                    <a:pos x="T2" y="T3"/>
                  </a:cxn>
                  <a:cxn ang="0">
                    <a:pos x="T4" y="T5"/>
                  </a:cxn>
                  <a:cxn ang="0">
                    <a:pos x="T6" y="T7"/>
                  </a:cxn>
                  <a:cxn ang="0">
                    <a:pos x="T8" y="T9"/>
                  </a:cxn>
                  <a:cxn ang="0">
                    <a:pos x="T10" y="T11"/>
                  </a:cxn>
                </a:cxnLst>
                <a:rect l="0" t="0" r="r" b="b"/>
                <a:pathLst>
                  <a:path w="50" h="28">
                    <a:moveTo>
                      <a:pt x="38" y="6"/>
                    </a:moveTo>
                    <a:cubicBezTo>
                      <a:pt x="38" y="4"/>
                      <a:pt x="38" y="3"/>
                      <a:pt x="38" y="1"/>
                    </a:cubicBezTo>
                    <a:cubicBezTo>
                      <a:pt x="36" y="0"/>
                      <a:pt x="33" y="0"/>
                      <a:pt x="30" y="0"/>
                    </a:cubicBezTo>
                    <a:cubicBezTo>
                      <a:pt x="13" y="0"/>
                      <a:pt x="0" y="13"/>
                      <a:pt x="0" y="28"/>
                    </a:cubicBezTo>
                    <a:cubicBezTo>
                      <a:pt x="50" y="28"/>
                      <a:pt x="50" y="28"/>
                      <a:pt x="50" y="28"/>
                    </a:cubicBezTo>
                    <a:cubicBezTo>
                      <a:pt x="43" y="23"/>
                      <a:pt x="38" y="15"/>
                      <a:pt x="38" y="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l" defTabSz="932563" rtl="0">
                  <a:defRPr/>
                </a:pPr>
                <a:endParaRPr lang="fr-fr" sz="1800">
                  <a:solidFill>
                    <a:srgbClr val="3C3C41"/>
                  </a:solidFill>
                  <a:latin typeface="Segoe UI"/>
                </a:endParaRPr>
              </a:p>
            </p:txBody>
          </p:sp>
        </p:grpSp>
      </p:grpSp>
      <p:grpSp>
        <p:nvGrpSpPr>
          <p:cNvPr id="16" name="Group 15">
            <a:extLst>
              <a:ext uri="{FF2B5EF4-FFF2-40B4-BE49-F238E27FC236}">
                <a16:creationId xmlns:a16="http://schemas.microsoft.com/office/drawing/2014/main" id="{A9814A37-7B6A-4097-B58D-5D4EC249B112}"/>
              </a:ext>
            </a:extLst>
          </p:cNvPr>
          <p:cNvGrpSpPr/>
          <p:nvPr/>
        </p:nvGrpSpPr>
        <p:grpSpPr>
          <a:xfrm>
            <a:off x="9199731" y="4179669"/>
            <a:ext cx="1084962" cy="1084962"/>
            <a:chOff x="9199731" y="4179669"/>
            <a:chExt cx="1084962" cy="1084962"/>
          </a:xfrm>
        </p:grpSpPr>
        <p:sp>
          <p:nvSpPr>
            <p:cNvPr id="102" name="Oval 101">
              <a:extLst>
                <a:ext uri="{FF2B5EF4-FFF2-40B4-BE49-F238E27FC236}">
                  <a16:creationId xmlns:a16="http://schemas.microsoft.com/office/drawing/2014/main" id="{C115A89A-3AA9-47C0-8929-124D463B4714}"/>
                </a:ext>
              </a:extLst>
            </p:cNvPr>
            <p:cNvSpPr/>
            <p:nvPr/>
          </p:nvSpPr>
          <p:spPr bwMode="auto">
            <a:xfrm>
              <a:off x="9199731" y="4179669"/>
              <a:ext cx="1084962" cy="1084962"/>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pic>
          <p:nvPicPr>
            <p:cNvPr id="65" name="Picture 64">
              <a:extLst>
                <a:ext uri="{FF2B5EF4-FFF2-40B4-BE49-F238E27FC236}">
                  <a16:creationId xmlns:a16="http://schemas.microsoft.com/office/drawing/2014/main" id="{33130636-FE0B-4CD7-903B-E476AA5CEC2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62264" y="4563035"/>
              <a:ext cx="759895" cy="354792"/>
            </a:xfrm>
            <a:prstGeom prst="rect">
              <a:avLst/>
            </a:prstGeom>
          </p:spPr>
        </p:pic>
      </p:grpSp>
    </p:spTree>
    <p:extLst>
      <p:ext uri="{BB962C8B-B14F-4D97-AF65-F5344CB8AC3E}">
        <p14:creationId xmlns:p14="http://schemas.microsoft.com/office/powerpoint/2010/main" val="358119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C2E195-1B2D-4EBA-AC10-03E597AE98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2272" y="1536192"/>
            <a:ext cx="3452943" cy="1941512"/>
          </a:xfrm>
          <a:prstGeom prst="rect">
            <a:avLst/>
          </a:prstGeom>
          <a:effectLst>
            <a:outerShdw blurRad="254000" dist="76200" dir="2700000" algn="ctr" rotWithShape="0">
              <a:srgbClr val="000000">
                <a:alpha val="40000"/>
              </a:srgbClr>
            </a:outerShdw>
          </a:effectLst>
        </p:spPr>
      </p:pic>
      <p:pic>
        <p:nvPicPr>
          <p:cNvPr id="8" name="Picture 7">
            <a:extLst>
              <a:ext uri="{FF2B5EF4-FFF2-40B4-BE49-F238E27FC236}">
                <a16:creationId xmlns:a16="http://schemas.microsoft.com/office/drawing/2014/main" id="{C904C28A-D727-4A51-B31F-73D4668676B9}"/>
              </a:ext>
            </a:extLst>
          </p:cNvPr>
          <p:cNvPicPr>
            <a:picLocks noChangeAspect="1"/>
          </p:cNvPicPr>
          <p:nvPr/>
        </p:nvPicPr>
        <p:blipFill>
          <a:blip r:embed="rId4"/>
          <a:stretch>
            <a:fillRect/>
          </a:stretch>
        </p:blipFill>
        <p:spPr>
          <a:xfrm>
            <a:off x="832104" y="1536192"/>
            <a:ext cx="3446271" cy="1938528"/>
          </a:xfrm>
          <a:prstGeom prst="rect">
            <a:avLst/>
          </a:prstGeom>
          <a:effectLst>
            <a:outerShdw blurRad="254000" dist="76200" dir="2700000" algn="ctr" rotWithShape="0">
              <a:srgbClr val="000000">
                <a:alpha val="40000"/>
              </a:srgbClr>
            </a:outerShdw>
          </a:effectLst>
        </p:spPr>
      </p:pic>
      <p:pic>
        <p:nvPicPr>
          <p:cNvPr id="3" name="Picture 2">
            <a:extLst>
              <a:ext uri="{FF2B5EF4-FFF2-40B4-BE49-F238E27FC236}">
                <a16:creationId xmlns:a16="http://schemas.microsoft.com/office/drawing/2014/main" id="{94435418-60AE-47E5-A61E-C3592CB6C25C}"/>
              </a:ext>
            </a:extLst>
          </p:cNvPr>
          <p:cNvPicPr>
            <a:picLocks noChangeAspect="1"/>
          </p:cNvPicPr>
          <p:nvPr/>
        </p:nvPicPr>
        <p:blipFill rotWithShape="1">
          <a:blip r:embed="rId5"/>
          <a:srcRect b="10371"/>
          <a:stretch/>
        </p:blipFill>
        <p:spPr>
          <a:xfrm>
            <a:off x="8083296" y="1536192"/>
            <a:ext cx="3447288" cy="1938528"/>
          </a:xfrm>
          <a:prstGeom prst="rect">
            <a:avLst/>
          </a:prstGeom>
          <a:effectLst>
            <a:outerShdw blurRad="254000" dist="76200" dir="2700000" algn="ctr" rotWithShape="0">
              <a:srgbClr val="000000">
                <a:alpha val="40000"/>
              </a:srgbClr>
            </a:outerShdw>
          </a:effectLst>
        </p:spPr>
      </p:pic>
      <p:grpSp>
        <p:nvGrpSpPr>
          <p:cNvPr id="133" name="Group 132">
            <a:extLst>
              <a:ext uri="{FF2B5EF4-FFF2-40B4-BE49-F238E27FC236}">
                <a16:creationId xmlns:a16="http://schemas.microsoft.com/office/drawing/2014/main" id="{A4BB912A-9166-4753-A719-E95D9D0FF1EE}"/>
              </a:ext>
            </a:extLst>
          </p:cNvPr>
          <p:cNvGrpSpPr/>
          <p:nvPr/>
        </p:nvGrpSpPr>
        <p:grpSpPr>
          <a:xfrm rot="7294212">
            <a:off x="4953033" y="1778473"/>
            <a:ext cx="1976215" cy="1586231"/>
            <a:chOff x="917290" y="2145084"/>
            <a:chExt cx="2136815" cy="1752434"/>
          </a:xfrm>
        </p:grpSpPr>
        <p:sp>
          <p:nvSpPr>
            <p:cNvPr id="135" name="Freeform: Shape 134">
              <a:extLst>
                <a:ext uri="{FF2B5EF4-FFF2-40B4-BE49-F238E27FC236}">
                  <a16:creationId xmlns:a16="http://schemas.microsoft.com/office/drawing/2014/main" id="{20A6541F-BAE6-48D0-9C44-8F964118FE51}"/>
                </a:ext>
              </a:extLst>
            </p:cNvPr>
            <p:cNvSpPr/>
            <p:nvPr/>
          </p:nvSpPr>
          <p:spPr bwMode="auto">
            <a:xfrm>
              <a:off x="917290" y="2145084"/>
              <a:ext cx="2136815" cy="1752434"/>
            </a:xfrm>
            <a:custGeom>
              <a:avLst/>
              <a:gdLst>
                <a:gd name="connsiteX0" fmla="*/ 372403 w 2106670"/>
                <a:gd name="connsiteY0" fmla="*/ 0 h 1665382"/>
                <a:gd name="connsiteX1" fmla="*/ 429894 w 2106670"/>
                <a:gd name="connsiteY1" fmla="*/ 5796 h 1665382"/>
                <a:gd name="connsiteX2" fmla="*/ 430022 w 2106670"/>
                <a:gd name="connsiteY2" fmla="*/ 5440 h 1665382"/>
                <a:gd name="connsiteX3" fmla="*/ 2106670 w 2106670"/>
                <a:gd name="connsiteY3" fmla="*/ 166415 h 1665382"/>
                <a:gd name="connsiteX4" fmla="*/ 1878070 w 2106670"/>
                <a:gd name="connsiteY4" fmla="*/ 1665382 h 1665382"/>
                <a:gd name="connsiteX5" fmla="*/ 195120 w 2106670"/>
                <a:gd name="connsiteY5" fmla="*/ 697994 h 1665382"/>
                <a:gd name="connsiteX6" fmla="*/ 164189 w 2106670"/>
                <a:gd name="connsiteY6" fmla="*/ 681205 h 1665382"/>
                <a:gd name="connsiteX7" fmla="*/ 0 w 2106670"/>
                <a:gd name="connsiteY7" fmla="*/ 372403 h 1665382"/>
                <a:gd name="connsiteX8" fmla="*/ 372403 w 2106670"/>
                <a:gd name="connsiteY8" fmla="*/ 0 h 1665382"/>
                <a:gd name="connsiteX0" fmla="*/ 372403 w 2106670"/>
                <a:gd name="connsiteY0" fmla="*/ 0 h 1534753"/>
                <a:gd name="connsiteX1" fmla="*/ 429894 w 2106670"/>
                <a:gd name="connsiteY1" fmla="*/ 5796 h 1534753"/>
                <a:gd name="connsiteX2" fmla="*/ 430022 w 2106670"/>
                <a:gd name="connsiteY2" fmla="*/ 5440 h 1534753"/>
                <a:gd name="connsiteX3" fmla="*/ 2106670 w 2106670"/>
                <a:gd name="connsiteY3" fmla="*/ 166415 h 1534753"/>
                <a:gd name="connsiteX4" fmla="*/ 1787635 w 2106670"/>
                <a:gd name="connsiteY4" fmla="*/ 1534753 h 1534753"/>
                <a:gd name="connsiteX5" fmla="*/ 195120 w 2106670"/>
                <a:gd name="connsiteY5" fmla="*/ 697994 h 1534753"/>
                <a:gd name="connsiteX6" fmla="*/ 164189 w 2106670"/>
                <a:gd name="connsiteY6" fmla="*/ 681205 h 1534753"/>
                <a:gd name="connsiteX7" fmla="*/ 0 w 2106670"/>
                <a:gd name="connsiteY7" fmla="*/ 372403 h 1534753"/>
                <a:gd name="connsiteX8" fmla="*/ 372403 w 2106670"/>
                <a:gd name="connsiteY8" fmla="*/ 0 h 1534753"/>
                <a:gd name="connsiteX0" fmla="*/ 372403 w 2136815"/>
                <a:gd name="connsiteY0" fmla="*/ 0 h 1534753"/>
                <a:gd name="connsiteX1" fmla="*/ 429894 w 2136815"/>
                <a:gd name="connsiteY1" fmla="*/ 5796 h 1534753"/>
                <a:gd name="connsiteX2" fmla="*/ 430022 w 2136815"/>
                <a:gd name="connsiteY2" fmla="*/ 5440 h 1534753"/>
                <a:gd name="connsiteX3" fmla="*/ 2136815 w 2136815"/>
                <a:gd name="connsiteY3" fmla="*/ 86028 h 1534753"/>
                <a:gd name="connsiteX4" fmla="*/ 1787635 w 2136815"/>
                <a:gd name="connsiteY4" fmla="*/ 1534753 h 1534753"/>
                <a:gd name="connsiteX5" fmla="*/ 195120 w 2136815"/>
                <a:gd name="connsiteY5" fmla="*/ 697994 h 1534753"/>
                <a:gd name="connsiteX6" fmla="*/ 164189 w 2136815"/>
                <a:gd name="connsiteY6" fmla="*/ 681205 h 1534753"/>
                <a:gd name="connsiteX7" fmla="*/ 0 w 2136815"/>
                <a:gd name="connsiteY7" fmla="*/ 372403 h 1534753"/>
                <a:gd name="connsiteX8" fmla="*/ 372403 w 2136815"/>
                <a:gd name="connsiteY8" fmla="*/ 0 h 153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6815" h="1534753">
                  <a:moveTo>
                    <a:pt x="372403" y="0"/>
                  </a:moveTo>
                  <a:lnTo>
                    <a:pt x="429894" y="5796"/>
                  </a:lnTo>
                  <a:cubicBezTo>
                    <a:pt x="429937" y="5677"/>
                    <a:pt x="429979" y="5559"/>
                    <a:pt x="430022" y="5440"/>
                  </a:cubicBezTo>
                  <a:lnTo>
                    <a:pt x="2136815" y="86028"/>
                  </a:lnTo>
                  <a:lnTo>
                    <a:pt x="1787635" y="1534753"/>
                  </a:lnTo>
                  <a:lnTo>
                    <a:pt x="195120" y="697994"/>
                  </a:lnTo>
                  <a:lnTo>
                    <a:pt x="164189" y="681205"/>
                  </a:lnTo>
                  <a:cubicBezTo>
                    <a:pt x="65129" y="614282"/>
                    <a:pt x="0" y="500948"/>
                    <a:pt x="0" y="372403"/>
                  </a:cubicBezTo>
                  <a:cubicBezTo>
                    <a:pt x="0" y="166731"/>
                    <a:pt x="166731" y="0"/>
                    <a:pt x="372403" y="0"/>
                  </a:cubicBezTo>
                  <a:close/>
                </a:path>
              </a:pathLst>
            </a:custGeom>
            <a:solidFill>
              <a:schemeClr val="accent2">
                <a:alpha val="37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sp>
          <p:nvSpPr>
            <p:cNvPr id="134" name="Oval 133">
              <a:extLst>
                <a:ext uri="{FF2B5EF4-FFF2-40B4-BE49-F238E27FC236}">
                  <a16:creationId xmlns:a16="http://schemas.microsoft.com/office/drawing/2014/main" id="{107FBCAE-D68D-4D1E-932F-5649F81E0A74}"/>
                </a:ext>
              </a:extLst>
            </p:cNvPr>
            <p:cNvSpPr/>
            <p:nvPr/>
          </p:nvSpPr>
          <p:spPr bwMode="auto">
            <a:xfrm>
              <a:off x="930258" y="2156142"/>
              <a:ext cx="754162" cy="795594"/>
            </a:xfrm>
            <a:prstGeom prst="ellipse">
              <a:avLst/>
            </a:prstGeom>
            <a:solidFill>
              <a:schemeClr val="accent2">
                <a:alpha val="67843"/>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grpSp>
      <p:grpSp>
        <p:nvGrpSpPr>
          <p:cNvPr id="82" name="Group 81">
            <a:extLst>
              <a:ext uri="{FF2B5EF4-FFF2-40B4-BE49-F238E27FC236}">
                <a16:creationId xmlns:a16="http://schemas.microsoft.com/office/drawing/2014/main" id="{AAF82247-5577-4980-8EDB-1EB83CA499FE}"/>
              </a:ext>
            </a:extLst>
          </p:cNvPr>
          <p:cNvGrpSpPr/>
          <p:nvPr/>
        </p:nvGrpSpPr>
        <p:grpSpPr>
          <a:xfrm>
            <a:off x="915581" y="4734481"/>
            <a:ext cx="10605314" cy="1713647"/>
            <a:chOff x="896845" y="4642069"/>
            <a:chExt cx="10398311" cy="1680199"/>
          </a:xfrm>
        </p:grpSpPr>
        <p:grpSp>
          <p:nvGrpSpPr>
            <p:cNvPr id="83" name="Group 82">
              <a:extLst>
                <a:ext uri="{FF2B5EF4-FFF2-40B4-BE49-F238E27FC236}">
                  <a16:creationId xmlns:a16="http://schemas.microsoft.com/office/drawing/2014/main" id="{EA7645B3-C22B-4A4E-A1B6-2481217FA024}"/>
                </a:ext>
              </a:extLst>
            </p:cNvPr>
            <p:cNvGrpSpPr/>
            <p:nvPr/>
          </p:nvGrpSpPr>
          <p:grpSpPr>
            <a:xfrm>
              <a:off x="896845" y="4642069"/>
              <a:ext cx="10398311" cy="1680199"/>
              <a:chOff x="896845" y="4642069"/>
              <a:chExt cx="10398311" cy="1680199"/>
            </a:xfrm>
          </p:grpSpPr>
          <p:sp>
            <p:nvSpPr>
              <p:cNvPr id="91" name="Rectangle 90">
                <a:extLst>
                  <a:ext uri="{FF2B5EF4-FFF2-40B4-BE49-F238E27FC236}">
                    <a16:creationId xmlns:a16="http://schemas.microsoft.com/office/drawing/2014/main" id="{471ABF42-9783-40D4-BD70-EBB3B4099B94}"/>
                  </a:ext>
                </a:extLst>
              </p:cNvPr>
              <p:cNvSpPr/>
              <p:nvPr/>
            </p:nvSpPr>
            <p:spPr bwMode="auto">
              <a:xfrm>
                <a:off x="896845" y="4642069"/>
                <a:ext cx="10398311" cy="1680199"/>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2" name="Group 91">
                <a:extLst>
                  <a:ext uri="{FF2B5EF4-FFF2-40B4-BE49-F238E27FC236}">
                    <a16:creationId xmlns:a16="http://schemas.microsoft.com/office/drawing/2014/main" id="{3C10238B-2DC9-4232-AE30-376A512AB7D7}"/>
                  </a:ext>
                </a:extLst>
              </p:cNvPr>
              <p:cNvGrpSpPr/>
              <p:nvPr/>
            </p:nvGrpSpPr>
            <p:grpSpPr>
              <a:xfrm>
                <a:off x="4317026" y="4871251"/>
                <a:ext cx="3492367" cy="1292542"/>
                <a:chOff x="4317026" y="4871251"/>
                <a:chExt cx="3492367" cy="1292542"/>
              </a:xfrm>
            </p:grpSpPr>
            <p:cxnSp>
              <p:nvCxnSpPr>
                <p:cNvPr id="93" name="Straight Connector 92">
                  <a:extLst>
                    <a:ext uri="{FF2B5EF4-FFF2-40B4-BE49-F238E27FC236}">
                      <a16:creationId xmlns:a16="http://schemas.microsoft.com/office/drawing/2014/main" id="{FFAC2214-0D8D-4C49-B5A8-FBE466A44F22}"/>
                    </a:ext>
                  </a:extLst>
                </p:cNvPr>
                <p:cNvCxnSpPr/>
                <p:nvPr/>
              </p:nvCxnSpPr>
              <p:spPr>
                <a:xfrm>
                  <a:off x="4317026" y="4871251"/>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5DA1C4F-0375-440E-AFC1-F0FB881F4C6E}"/>
                    </a:ext>
                  </a:extLst>
                </p:cNvPr>
                <p:cNvCxnSpPr/>
                <p:nvPr/>
              </p:nvCxnSpPr>
              <p:spPr>
                <a:xfrm>
                  <a:off x="7809393" y="4871251"/>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7B203B1-7881-4F59-A17B-C149B5AEEFEE}"/>
                    </a:ext>
                  </a:extLst>
                </p:cNvPr>
                <p:cNvCxnSpPr/>
                <p:nvPr/>
              </p:nvCxnSpPr>
              <p:spPr>
                <a:xfrm>
                  <a:off x="4317026" y="5188445"/>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662C41B-AF8C-490A-9C7A-B77D8071850B}"/>
                    </a:ext>
                  </a:extLst>
                </p:cNvPr>
                <p:cNvCxnSpPr/>
                <p:nvPr/>
              </p:nvCxnSpPr>
              <p:spPr>
                <a:xfrm>
                  <a:off x="7809393" y="5188445"/>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4" name="Rectangle 83">
              <a:extLst>
                <a:ext uri="{FF2B5EF4-FFF2-40B4-BE49-F238E27FC236}">
                  <a16:creationId xmlns:a16="http://schemas.microsoft.com/office/drawing/2014/main" id="{4B0532F8-0E29-4D68-AFD4-E0B50E78E905}"/>
                </a:ext>
              </a:extLst>
            </p:cNvPr>
            <p:cNvSpPr/>
            <p:nvPr/>
          </p:nvSpPr>
          <p:spPr>
            <a:xfrm>
              <a:off x="1728875" y="5424269"/>
              <a:ext cx="1694875" cy="618627"/>
            </a:xfrm>
            <a:prstGeom prst="rect">
              <a:avLst/>
            </a:prstGeom>
          </p:spPr>
          <p:txBody>
            <a:bodyPr wrap="none" lIns="0">
              <a:spAutoFit/>
            </a:bodyPr>
            <a:lstStyle/>
            <a:p>
              <a:pPr algn="ctr" defTabSz="932563" rtl="0">
                <a:defRPr/>
              </a:pP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Menez la </a:t>
              </a:r>
              <a:br>
                <a:rPr lang="fr-fr" sz="175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b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meilleure action</a:t>
              </a:r>
            </a:p>
          </p:txBody>
        </p:sp>
        <p:sp>
          <p:nvSpPr>
            <p:cNvPr id="88" name="Rectangle 87">
              <a:extLst>
                <a:ext uri="{FF2B5EF4-FFF2-40B4-BE49-F238E27FC236}">
                  <a16:creationId xmlns:a16="http://schemas.microsoft.com/office/drawing/2014/main" id="{78A812E7-DBA3-418D-B7F0-AB8E1D1236E5}"/>
                </a:ext>
              </a:extLst>
            </p:cNvPr>
            <p:cNvSpPr/>
            <p:nvPr/>
          </p:nvSpPr>
          <p:spPr>
            <a:xfrm>
              <a:off x="7879711" y="5424269"/>
              <a:ext cx="3411061" cy="618627"/>
            </a:xfrm>
            <a:prstGeom prst="rect">
              <a:avLst/>
            </a:prstGeom>
          </p:spPr>
          <p:txBody>
            <a:bodyPr wrap="none" lIns="0">
              <a:spAutoFit/>
            </a:bodyPr>
            <a:lstStyle/>
            <a:p>
              <a:pPr algn="ctr" defTabSz="932563" rtl="0">
                <a:defRPr/>
              </a:pPr>
              <a: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t>Entrez en contact avec les clients </a:t>
              </a:r>
              <a:b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br>
              <a: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t>grâce à du contenu personnalisé</a:t>
              </a:r>
            </a:p>
          </p:txBody>
        </p:sp>
        <p:sp>
          <p:nvSpPr>
            <p:cNvPr id="89" name="Rectangle 88">
              <a:extLst>
                <a:ext uri="{FF2B5EF4-FFF2-40B4-BE49-F238E27FC236}">
                  <a16:creationId xmlns:a16="http://schemas.microsoft.com/office/drawing/2014/main" id="{9C32D72F-47D2-4D21-9A34-0158454E9359}"/>
                </a:ext>
              </a:extLst>
            </p:cNvPr>
            <p:cNvSpPr/>
            <p:nvPr/>
          </p:nvSpPr>
          <p:spPr>
            <a:xfrm>
              <a:off x="5200083" y="5424269"/>
              <a:ext cx="1813004" cy="618627"/>
            </a:xfrm>
            <a:prstGeom prst="rect">
              <a:avLst/>
            </a:prstGeom>
          </p:spPr>
          <p:txBody>
            <a:bodyPr wrap="none" lIns="0">
              <a:spAutoFit/>
            </a:bodyPr>
            <a:lstStyle/>
            <a:p>
              <a:pPr algn="ctr" defTabSz="932563" rtl="0">
                <a:defRPr/>
              </a:pP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Suivez les clients </a:t>
              </a:r>
              <a:b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b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et leurs besoins</a:t>
              </a:r>
            </a:p>
          </p:txBody>
        </p:sp>
      </p:grpSp>
      <p:sp>
        <p:nvSpPr>
          <p:cNvPr id="2" name="Title 1">
            <a:extLst>
              <a:ext uri="{FF2B5EF4-FFF2-40B4-BE49-F238E27FC236}">
                <a16:creationId xmlns:a16="http://schemas.microsoft.com/office/drawing/2014/main" id="{B271C5AB-29F1-4C22-B74E-A88A836D4CF3}"/>
              </a:ext>
            </a:extLst>
          </p:cNvPr>
          <p:cNvSpPr>
            <a:spLocks noGrp="1"/>
          </p:cNvSpPr>
          <p:nvPr>
            <p:ph type="title"/>
          </p:nvPr>
        </p:nvSpPr>
        <p:spPr>
          <a:xfrm>
            <a:off x="465139" y="632780"/>
            <a:ext cx="11533187" cy="411162"/>
          </a:xfrm>
        </p:spPr>
        <p:txBody>
          <a:bodyPr/>
          <a:lstStyle/>
          <a:p>
            <a:pPr algn="l" rtl="0"/>
            <a:r>
              <a:rPr lang="fr-fr" b="0" i="0" u="none" baseline="0"/>
              <a:t>Rester en lien avec vos clients</a:t>
            </a:r>
          </a:p>
        </p:txBody>
      </p:sp>
      <p:sp>
        <p:nvSpPr>
          <p:cNvPr id="113" name="Oval 112">
            <a:extLst>
              <a:ext uri="{FF2B5EF4-FFF2-40B4-BE49-F238E27FC236}">
                <a16:creationId xmlns:a16="http://schemas.microsoft.com/office/drawing/2014/main" id="{3AC78629-0660-4C56-A6D5-F0B8E6DD76C9}"/>
              </a:ext>
            </a:extLst>
          </p:cNvPr>
          <p:cNvSpPr/>
          <p:nvPr/>
        </p:nvSpPr>
        <p:spPr bwMode="auto">
          <a:xfrm flipH="1">
            <a:off x="11195070" y="391045"/>
            <a:ext cx="803626" cy="803626"/>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fr-fr"/>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grpSp>
        <p:nvGrpSpPr>
          <p:cNvPr id="11" name="Group 10">
            <a:extLst>
              <a:ext uri="{FF2B5EF4-FFF2-40B4-BE49-F238E27FC236}">
                <a16:creationId xmlns:a16="http://schemas.microsoft.com/office/drawing/2014/main" id="{087558AB-BE0A-4046-8BD2-6642B8E6C269}"/>
              </a:ext>
            </a:extLst>
          </p:cNvPr>
          <p:cNvGrpSpPr/>
          <p:nvPr/>
        </p:nvGrpSpPr>
        <p:grpSpPr>
          <a:xfrm>
            <a:off x="2086000" y="4179669"/>
            <a:ext cx="1084962" cy="1084962"/>
            <a:chOff x="2044419" y="4098087"/>
            <a:chExt cx="1063785" cy="1063785"/>
          </a:xfrm>
        </p:grpSpPr>
        <p:sp>
          <p:nvSpPr>
            <p:cNvPr id="99" name="Oval 98">
              <a:extLst>
                <a:ext uri="{FF2B5EF4-FFF2-40B4-BE49-F238E27FC236}">
                  <a16:creationId xmlns:a16="http://schemas.microsoft.com/office/drawing/2014/main" id="{C1CC9BFB-B2E4-48A0-BFF3-34DB3B3708CC}"/>
                </a:ext>
              </a:extLst>
            </p:cNvPr>
            <p:cNvSpPr/>
            <p:nvPr/>
          </p:nvSpPr>
          <p:spPr bwMode="auto">
            <a:xfrm>
              <a:off x="2044419" y="4098087"/>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pic>
          <p:nvPicPr>
            <p:cNvPr id="114" name="Picture 113">
              <a:extLst>
                <a:ext uri="{FF2B5EF4-FFF2-40B4-BE49-F238E27FC236}">
                  <a16:creationId xmlns:a16="http://schemas.microsoft.com/office/drawing/2014/main" id="{21E7B749-64E2-4727-953C-9567C1A39C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94393" y="4330977"/>
              <a:ext cx="563836" cy="598005"/>
            </a:xfrm>
            <a:prstGeom prst="rect">
              <a:avLst/>
            </a:prstGeom>
          </p:spPr>
        </p:pic>
      </p:grpSp>
      <p:sp>
        <p:nvSpPr>
          <p:cNvPr id="108" name="Oval 107">
            <a:extLst>
              <a:ext uri="{FF2B5EF4-FFF2-40B4-BE49-F238E27FC236}">
                <a16:creationId xmlns:a16="http://schemas.microsoft.com/office/drawing/2014/main" id="{B755AA55-88F9-460F-8801-F8DAE6E7282B}"/>
              </a:ext>
            </a:extLst>
          </p:cNvPr>
          <p:cNvSpPr/>
          <p:nvPr/>
        </p:nvSpPr>
        <p:spPr bwMode="auto">
          <a:xfrm>
            <a:off x="9199731" y="4179669"/>
            <a:ext cx="1084962" cy="1084962"/>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grpSp>
        <p:nvGrpSpPr>
          <p:cNvPr id="13" name="Group 12">
            <a:extLst>
              <a:ext uri="{FF2B5EF4-FFF2-40B4-BE49-F238E27FC236}">
                <a16:creationId xmlns:a16="http://schemas.microsoft.com/office/drawing/2014/main" id="{1DCB9C82-944E-4422-9A98-28509D2EC399}"/>
              </a:ext>
            </a:extLst>
          </p:cNvPr>
          <p:cNvGrpSpPr/>
          <p:nvPr/>
        </p:nvGrpSpPr>
        <p:grpSpPr>
          <a:xfrm>
            <a:off x="5645371" y="4179669"/>
            <a:ext cx="1084962" cy="1084962"/>
            <a:chOff x="5534315" y="4098087"/>
            <a:chExt cx="1063785" cy="1063785"/>
          </a:xfrm>
        </p:grpSpPr>
        <p:sp>
          <p:nvSpPr>
            <p:cNvPr id="97" name="Oval 96">
              <a:extLst>
                <a:ext uri="{FF2B5EF4-FFF2-40B4-BE49-F238E27FC236}">
                  <a16:creationId xmlns:a16="http://schemas.microsoft.com/office/drawing/2014/main" id="{01D8538E-CF46-4582-8AA8-21A4B71D2B47}"/>
                </a:ext>
              </a:extLst>
            </p:cNvPr>
            <p:cNvSpPr/>
            <p:nvPr/>
          </p:nvSpPr>
          <p:spPr bwMode="auto">
            <a:xfrm>
              <a:off x="5534315" y="4098087"/>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pic>
          <p:nvPicPr>
            <p:cNvPr id="120" name="Picture 119">
              <a:extLst>
                <a:ext uri="{FF2B5EF4-FFF2-40B4-BE49-F238E27FC236}">
                  <a16:creationId xmlns:a16="http://schemas.microsoft.com/office/drawing/2014/main" id="{9103496E-C3C9-4032-B00F-E0EF26D20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5759817" y="4323589"/>
              <a:ext cx="612780" cy="612780"/>
            </a:xfrm>
            <a:prstGeom prst="rect">
              <a:avLst/>
            </a:prstGeom>
          </p:spPr>
        </p:pic>
      </p:grpSp>
      <p:sp>
        <p:nvSpPr>
          <p:cNvPr id="49" name="Oval 48">
            <a:extLst>
              <a:ext uri="{FF2B5EF4-FFF2-40B4-BE49-F238E27FC236}">
                <a16:creationId xmlns:a16="http://schemas.microsoft.com/office/drawing/2014/main" id="{1E29C461-DB8D-416C-B1C8-53068B48E039}"/>
              </a:ext>
            </a:extLst>
          </p:cNvPr>
          <p:cNvSpPr/>
          <p:nvPr/>
        </p:nvSpPr>
        <p:spPr bwMode="auto">
          <a:xfrm rot="487033">
            <a:off x="3129334" y="2626360"/>
            <a:ext cx="759632" cy="759632"/>
          </a:xfrm>
          <a:prstGeom prst="ellipse">
            <a:avLst/>
          </a:prstGeom>
          <a:solidFill>
            <a:schemeClr val="accent2">
              <a:alpha val="67843"/>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sp>
        <p:nvSpPr>
          <p:cNvPr id="51" name="Freeform: Shape 50">
            <a:extLst>
              <a:ext uri="{FF2B5EF4-FFF2-40B4-BE49-F238E27FC236}">
                <a16:creationId xmlns:a16="http://schemas.microsoft.com/office/drawing/2014/main" id="{1B868EDD-DAC9-4307-9EDB-AF6344E85BE4}"/>
              </a:ext>
            </a:extLst>
          </p:cNvPr>
          <p:cNvSpPr/>
          <p:nvPr/>
        </p:nvSpPr>
        <p:spPr bwMode="auto">
          <a:xfrm rot="9178133">
            <a:off x="1754046" y="2327269"/>
            <a:ext cx="2067279" cy="1357814"/>
          </a:xfrm>
          <a:custGeom>
            <a:avLst/>
            <a:gdLst>
              <a:gd name="connsiteX0" fmla="*/ 372403 w 2106670"/>
              <a:gd name="connsiteY0" fmla="*/ 0 h 1665382"/>
              <a:gd name="connsiteX1" fmla="*/ 429894 w 2106670"/>
              <a:gd name="connsiteY1" fmla="*/ 5796 h 1665382"/>
              <a:gd name="connsiteX2" fmla="*/ 430022 w 2106670"/>
              <a:gd name="connsiteY2" fmla="*/ 5440 h 1665382"/>
              <a:gd name="connsiteX3" fmla="*/ 2106670 w 2106670"/>
              <a:gd name="connsiteY3" fmla="*/ 166415 h 1665382"/>
              <a:gd name="connsiteX4" fmla="*/ 1878070 w 2106670"/>
              <a:gd name="connsiteY4" fmla="*/ 1665382 h 1665382"/>
              <a:gd name="connsiteX5" fmla="*/ 195120 w 2106670"/>
              <a:gd name="connsiteY5" fmla="*/ 697994 h 1665382"/>
              <a:gd name="connsiteX6" fmla="*/ 164189 w 2106670"/>
              <a:gd name="connsiteY6" fmla="*/ 681205 h 1665382"/>
              <a:gd name="connsiteX7" fmla="*/ 0 w 2106670"/>
              <a:gd name="connsiteY7" fmla="*/ 372403 h 1665382"/>
              <a:gd name="connsiteX8" fmla="*/ 372403 w 2106670"/>
              <a:gd name="connsiteY8" fmla="*/ 0 h 1665382"/>
              <a:gd name="connsiteX0" fmla="*/ 372403 w 2106670"/>
              <a:gd name="connsiteY0" fmla="*/ 0 h 1534753"/>
              <a:gd name="connsiteX1" fmla="*/ 429894 w 2106670"/>
              <a:gd name="connsiteY1" fmla="*/ 5796 h 1534753"/>
              <a:gd name="connsiteX2" fmla="*/ 430022 w 2106670"/>
              <a:gd name="connsiteY2" fmla="*/ 5440 h 1534753"/>
              <a:gd name="connsiteX3" fmla="*/ 2106670 w 2106670"/>
              <a:gd name="connsiteY3" fmla="*/ 166415 h 1534753"/>
              <a:gd name="connsiteX4" fmla="*/ 1787635 w 2106670"/>
              <a:gd name="connsiteY4" fmla="*/ 1534753 h 1534753"/>
              <a:gd name="connsiteX5" fmla="*/ 195120 w 2106670"/>
              <a:gd name="connsiteY5" fmla="*/ 697994 h 1534753"/>
              <a:gd name="connsiteX6" fmla="*/ 164189 w 2106670"/>
              <a:gd name="connsiteY6" fmla="*/ 681205 h 1534753"/>
              <a:gd name="connsiteX7" fmla="*/ 0 w 2106670"/>
              <a:gd name="connsiteY7" fmla="*/ 372403 h 1534753"/>
              <a:gd name="connsiteX8" fmla="*/ 372403 w 2106670"/>
              <a:gd name="connsiteY8" fmla="*/ 0 h 1534753"/>
              <a:gd name="connsiteX0" fmla="*/ 372403 w 2136815"/>
              <a:gd name="connsiteY0" fmla="*/ 0 h 1534753"/>
              <a:gd name="connsiteX1" fmla="*/ 429894 w 2136815"/>
              <a:gd name="connsiteY1" fmla="*/ 5796 h 1534753"/>
              <a:gd name="connsiteX2" fmla="*/ 430022 w 2136815"/>
              <a:gd name="connsiteY2" fmla="*/ 5440 h 1534753"/>
              <a:gd name="connsiteX3" fmla="*/ 2136815 w 2136815"/>
              <a:gd name="connsiteY3" fmla="*/ 86028 h 1534753"/>
              <a:gd name="connsiteX4" fmla="*/ 1787635 w 2136815"/>
              <a:gd name="connsiteY4" fmla="*/ 1534753 h 1534753"/>
              <a:gd name="connsiteX5" fmla="*/ 195120 w 2136815"/>
              <a:gd name="connsiteY5" fmla="*/ 697994 h 1534753"/>
              <a:gd name="connsiteX6" fmla="*/ 164189 w 2136815"/>
              <a:gd name="connsiteY6" fmla="*/ 681205 h 1534753"/>
              <a:gd name="connsiteX7" fmla="*/ 0 w 2136815"/>
              <a:gd name="connsiteY7" fmla="*/ 372403 h 1534753"/>
              <a:gd name="connsiteX8" fmla="*/ 372403 w 2136815"/>
              <a:gd name="connsiteY8" fmla="*/ 0 h 153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6815" h="1534753">
                <a:moveTo>
                  <a:pt x="372403" y="0"/>
                </a:moveTo>
                <a:lnTo>
                  <a:pt x="429894" y="5796"/>
                </a:lnTo>
                <a:cubicBezTo>
                  <a:pt x="429937" y="5677"/>
                  <a:pt x="429979" y="5559"/>
                  <a:pt x="430022" y="5440"/>
                </a:cubicBezTo>
                <a:lnTo>
                  <a:pt x="2136815" y="86028"/>
                </a:lnTo>
                <a:lnTo>
                  <a:pt x="1787635" y="1534753"/>
                </a:lnTo>
                <a:lnTo>
                  <a:pt x="195120" y="697994"/>
                </a:lnTo>
                <a:lnTo>
                  <a:pt x="164189" y="681205"/>
                </a:lnTo>
                <a:cubicBezTo>
                  <a:pt x="65129" y="614282"/>
                  <a:pt x="0" y="500948"/>
                  <a:pt x="0" y="372403"/>
                </a:cubicBezTo>
                <a:cubicBezTo>
                  <a:pt x="0" y="166731"/>
                  <a:pt x="166731" y="0"/>
                  <a:pt x="372403" y="0"/>
                </a:cubicBezTo>
                <a:close/>
              </a:path>
            </a:pathLst>
          </a:custGeom>
          <a:solidFill>
            <a:schemeClr val="accent2">
              <a:alpha val="37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pic>
        <p:nvPicPr>
          <p:cNvPr id="56" name="Graphic 55">
            <a:extLst>
              <a:ext uri="{FF2B5EF4-FFF2-40B4-BE49-F238E27FC236}">
                <a16:creationId xmlns:a16="http://schemas.microsoft.com/office/drawing/2014/main" id="{E71C37F5-52DA-4900-BE0F-EAB512F76D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3761" y="4413152"/>
            <a:ext cx="644003" cy="624586"/>
          </a:xfrm>
          <a:prstGeom prst="rect">
            <a:avLst/>
          </a:prstGeom>
        </p:spPr>
      </p:pic>
      <p:pic>
        <p:nvPicPr>
          <p:cNvPr id="57" name="Picture 56">
            <a:extLst>
              <a:ext uri="{FF2B5EF4-FFF2-40B4-BE49-F238E27FC236}">
                <a16:creationId xmlns:a16="http://schemas.microsoft.com/office/drawing/2014/main" id="{101E7E6D-70A0-42D9-BD9D-F71F8D75A68B}"/>
              </a:ext>
            </a:extLst>
          </p:cNvPr>
          <p:cNvPicPr>
            <a:picLocks noChangeAspect="1"/>
          </p:cNvPicPr>
          <p:nvPr/>
        </p:nvPicPr>
        <p:blipFill rotWithShape="1">
          <a:blip r:embed="rId4"/>
          <a:srcRect l="79330" t="55911" r="8062" b="21673"/>
          <a:stretch/>
        </p:blipFill>
        <p:spPr>
          <a:xfrm>
            <a:off x="832103" y="2676443"/>
            <a:ext cx="1554480" cy="1554480"/>
          </a:xfrm>
          <a:prstGeom prst="ellipse">
            <a:avLst/>
          </a:prstGeom>
          <a:ln w="38100">
            <a:solidFill>
              <a:schemeClr val="tx1"/>
            </a:solidFill>
          </a:ln>
          <a:effectLst>
            <a:outerShdw blurRad="254000" dist="76200" dir="2700000" algn="ctr" rotWithShape="0">
              <a:srgbClr val="000000">
                <a:alpha val="40000"/>
              </a:srgbClr>
            </a:outerShdw>
          </a:effectLst>
        </p:spPr>
      </p:pic>
      <p:pic>
        <p:nvPicPr>
          <p:cNvPr id="58" name="Picture 57">
            <a:extLst>
              <a:ext uri="{FF2B5EF4-FFF2-40B4-BE49-F238E27FC236}">
                <a16:creationId xmlns:a16="http://schemas.microsoft.com/office/drawing/2014/main" id="{D2836DD3-6B7D-4B3B-A3DC-DE15707D5FBF}"/>
              </a:ext>
            </a:extLst>
          </p:cNvPr>
          <p:cNvPicPr>
            <a:picLocks noChangeAspect="1"/>
          </p:cNvPicPr>
          <p:nvPr/>
        </p:nvPicPr>
        <p:blipFill rotWithShape="1">
          <a:blip r:embed="rId3">
            <a:extLst>
              <a:ext uri="{28A0092B-C50C-407E-A947-70E740481C1C}">
                <a14:useLocalDpi xmlns:a14="http://schemas.microsoft.com/office/drawing/2010/main" val="0"/>
              </a:ext>
            </a:extLst>
          </a:blip>
          <a:srcRect l="52133" t="16740" r="24990" b="42574"/>
          <a:stretch/>
        </p:blipFill>
        <p:spPr>
          <a:xfrm>
            <a:off x="4605387" y="2603401"/>
            <a:ext cx="1554480" cy="1554480"/>
          </a:xfrm>
          <a:prstGeom prst="ellipse">
            <a:avLst/>
          </a:prstGeom>
          <a:ln w="38100">
            <a:solidFill>
              <a:schemeClr val="tx1"/>
            </a:solidFill>
          </a:ln>
          <a:effectLst>
            <a:outerShdw blurRad="254000" dist="76200" dir="2700000" algn="ctr" rotWithShape="0">
              <a:srgbClr val="000000">
                <a:alpha val="40000"/>
              </a:srgbClr>
            </a:outerShdw>
          </a:effectLst>
        </p:spPr>
      </p:pic>
      <p:grpSp>
        <p:nvGrpSpPr>
          <p:cNvPr id="60" name="Group 59">
            <a:extLst>
              <a:ext uri="{FF2B5EF4-FFF2-40B4-BE49-F238E27FC236}">
                <a16:creationId xmlns:a16="http://schemas.microsoft.com/office/drawing/2014/main" id="{2B729756-E953-4B2E-A838-07FF0F369081}"/>
              </a:ext>
            </a:extLst>
          </p:cNvPr>
          <p:cNvGrpSpPr/>
          <p:nvPr/>
        </p:nvGrpSpPr>
        <p:grpSpPr>
          <a:xfrm rot="254031">
            <a:off x="8364135" y="2354837"/>
            <a:ext cx="1976216" cy="1492871"/>
            <a:chOff x="904885" y="2189158"/>
            <a:chExt cx="2136815" cy="1534753"/>
          </a:xfrm>
        </p:grpSpPr>
        <p:sp>
          <p:nvSpPr>
            <p:cNvPr id="61" name="Oval 60">
              <a:extLst>
                <a:ext uri="{FF2B5EF4-FFF2-40B4-BE49-F238E27FC236}">
                  <a16:creationId xmlns:a16="http://schemas.microsoft.com/office/drawing/2014/main" id="{C3BC94C0-9C85-4C3F-9F29-38843BE152D8}"/>
                </a:ext>
              </a:extLst>
            </p:cNvPr>
            <p:cNvSpPr/>
            <p:nvPr/>
          </p:nvSpPr>
          <p:spPr bwMode="auto">
            <a:xfrm>
              <a:off x="904886" y="2189160"/>
              <a:ext cx="744805" cy="744805"/>
            </a:xfrm>
            <a:prstGeom prst="ellipse">
              <a:avLst/>
            </a:prstGeom>
            <a:solidFill>
              <a:schemeClr val="accent2">
                <a:alpha val="67843"/>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sp>
          <p:nvSpPr>
            <p:cNvPr id="62" name="Freeform: Shape 61">
              <a:extLst>
                <a:ext uri="{FF2B5EF4-FFF2-40B4-BE49-F238E27FC236}">
                  <a16:creationId xmlns:a16="http://schemas.microsoft.com/office/drawing/2014/main" id="{18BC1696-4060-4005-84D1-F0BE0DC64BB8}"/>
                </a:ext>
              </a:extLst>
            </p:cNvPr>
            <p:cNvSpPr/>
            <p:nvPr/>
          </p:nvSpPr>
          <p:spPr bwMode="auto">
            <a:xfrm>
              <a:off x="904885" y="2189158"/>
              <a:ext cx="2136815" cy="1534753"/>
            </a:xfrm>
            <a:custGeom>
              <a:avLst/>
              <a:gdLst>
                <a:gd name="connsiteX0" fmla="*/ 372403 w 2106670"/>
                <a:gd name="connsiteY0" fmla="*/ 0 h 1665382"/>
                <a:gd name="connsiteX1" fmla="*/ 429894 w 2106670"/>
                <a:gd name="connsiteY1" fmla="*/ 5796 h 1665382"/>
                <a:gd name="connsiteX2" fmla="*/ 430022 w 2106670"/>
                <a:gd name="connsiteY2" fmla="*/ 5440 h 1665382"/>
                <a:gd name="connsiteX3" fmla="*/ 2106670 w 2106670"/>
                <a:gd name="connsiteY3" fmla="*/ 166415 h 1665382"/>
                <a:gd name="connsiteX4" fmla="*/ 1878070 w 2106670"/>
                <a:gd name="connsiteY4" fmla="*/ 1665382 h 1665382"/>
                <a:gd name="connsiteX5" fmla="*/ 195120 w 2106670"/>
                <a:gd name="connsiteY5" fmla="*/ 697994 h 1665382"/>
                <a:gd name="connsiteX6" fmla="*/ 164189 w 2106670"/>
                <a:gd name="connsiteY6" fmla="*/ 681205 h 1665382"/>
                <a:gd name="connsiteX7" fmla="*/ 0 w 2106670"/>
                <a:gd name="connsiteY7" fmla="*/ 372403 h 1665382"/>
                <a:gd name="connsiteX8" fmla="*/ 372403 w 2106670"/>
                <a:gd name="connsiteY8" fmla="*/ 0 h 1665382"/>
                <a:gd name="connsiteX0" fmla="*/ 372403 w 2106670"/>
                <a:gd name="connsiteY0" fmla="*/ 0 h 1534753"/>
                <a:gd name="connsiteX1" fmla="*/ 429894 w 2106670"/>
                <a:gd name="connsiteY1" fmla="*/ 5796 h 1534753"/>
                <a:gd name="connsiteX2" fmla="*/ 430022 w 2106670"/>
                <a:gd name="connsiteY2" fmla="*/ 5440 h 1534753"/>
                <a:gd name="connsiteX3" fmla="*/ 2106670 w 2106670"/>
                <a:gd name="connsiteY3" fmla="*/ 166415 h 1534753"/>
                <a:gd name="connsiteX4" fmla="*/ 1787635 w 2106670"/>
                <a:gd name="connsiteY4" fmla="*/ 1534753 h 1534753"/>
                <a:gd name="connsiteX5" fmla="*/ 195120 w 2106670"/>
                <a:gd name="connsiteY5" fmla="*/ 697994 h 1534753"/>
                <a:gd name="connsiteX6" fmla="*/ 164189 w 2106670"/>
                <a:gd name="connsiteY6" fmla="*/ 681205 h 1534753"/>
                <a:gd name="connsiteX7" fmla="*/ 0 w 2106670"/>
                <a:gd name="connsiteY7" fmla="*/ 372403 h 1534753"/>
                <a:gd name="connsiteX8" fmla="*/ 372403 w 2106670"/>
                <a:gd name="connsiteY8" fmla="*/ 0 h 1534753"/>
                <a:gd name="connsiteX0" fmla="*/ 372403 w 2136815"/>
                <a:gd name="connsiteY0" fmla="*/ 0 h 1534753"/>
                <a:gd name="connsiteX1" fmla="*/ 429894 w 2136815"/>
                <a:gd name="connsiteY1" fmla="*/ 5796 h 1534753"/>
                <a:gd name="connsiteX2" fmla="*/ 430022 w 2136815"/>
                <a:gd name="connsiteY2" fmla="*/ 5440 h 1534753"/>
                <a:gd name="connsiteX3" fmla="*/ 2136815 w 2136815"/>
                <a:gd name="connsiteY3" fmla="*/ 86028 h 1534753"/>
                <a:gd name="connsiteX4" fmla="*/ 1787635 w 2136815"/>
                <a:gd name="connsiteY4" fmla="*/ 1534753 h 1534753"/>
                <a:gd name="connsiteX5" fmla="*/ 195120 w 2136815"/>
                <a:gd name="connsiteY5" fmla="*/ 697994 h 1534753"/>
                <a:gd name="connsiteX6" fmla="*/ 164189 w 2136815"/>
                <a:gd name="connsiteY6" fmla="*/ 681205 h 1534753"/>
                <a:gd name="connsiteX7" fmla="*/ 0 w 2136815"/>
                <a:gd name="connsiteY7" fmla="*/ 372403 h 1534753"/>
                <a:gd name="connsiteX8" fmla="*/ 372403 w 2136815"/>
                <a:gd name="connsiteY8" fmla="*/ 0 h 153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6815" h="1534753">
                  <a:moveTo>
                    <a:pt x="372403" y="0"/>
                  </a:moveTo>
                  <a:lnTo>
                    <a:pt x="429894" y="5796"/>
                  </a:lnTo>
                  <a:cubicBezTo>
                    <a:pt x="429937" y="5677"/>
                    <a:pt x="429979" y="5559"/>
                    <a:pt x="430022" y="5440"/>
                  </a:cubicBezTo>
                  <a:lnTo>
                    <a:pt x="2136815" y="86028"/>
                  </a:lnTo>
                  <a:lnTo>
                    <a:pt x="1787635" y="1534753"/>
                  </a:lnTo>
                  <a:lnTo>
                    <a:pt x="195120" y="697994"/>
                  </a:lnTo>
                  <a:lnTo>
                    <a:pt x="164189" y="681205"/>
                  </a:lnTo>
                  <a:cubicBezTo>
                    <a:pt x="65129" y="614282"/>
                    <a:pt x="0" y="500948"/>
                    <a:pt x="0" y="372403"/>
                  </a:cubicBezTo>
                  <a:cubicBezTo>
                    <a:pt x="0" y="166731"/>
                    <a:pt x="166731" y="0"/>
                    <a:pt x="372403" y="0"/>
                  </a:cubicBezTo>
                  <a:close/>
                </a:path>
              </a:pathLst>
            </a:custGeom>
            <a:solidFill>
              <a:schemeClr val="accent2">
                <a:alpha val="37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grpSp>
      <p:pic>
        <p:nvPicPr>
          <p:cNvPr id="59" name="Picture 58">
            <a:extLst>
              <a:ext uri="{FF2B5EF4-FFF2-40B4-BE49-F238E27FC236}">
                <a16:creationId xmlns:a16="http://schemas.microsoft.com/office/drawing/2014/main" id="{6E978A21-2BE9-4854-9277-BDE0D675D828}"/>
              </a:ext>
            </a:extLst>
          </p:cNvPr>
          <p:cNvPicPr>
            <a:picLocks noChangeAspect="1"/>
          </p:cNvPicPr>
          <p:nvPr/>
        </p:nvPicPr>
        <p:blipFill rotWithShape="1">
          <a:blip r:embed="rId5"/>
          <a:srcRect l="15679" t="36836" r="62628" b="28589"/>
          <a:stretch/>
        </p:blipFill>
        <p:spPr>
          <a:xfrm>
            <a:off x="9742211" y="2550121"/>
            <a:ext cx="1554480" cy="1554480"/>
          </a:xfrm>
          <a:prstGeom prst="ellipse">
            <a:avLst/>
          </a:prstGeom>
          <a:ln w="38100">
            <a:solidFill>
              <a:schemeClr val="tx1"/>
            </a:solidFill>
          </a:ln>
          <a:effectLst>
            <a:outerShdw blurRad="254000" dist="76200" dir="2700000" algn="ctr" rotWithShape="0">
              <a:srgbClr val="000000">
                <a:alpha val="40000"/>
              </a:srgbClr>
            </a:outerShdw>
          </a:effectLst>
        </p:spPr>
      </p:pic>
      <p:pic>
        <p:nvPicPr>
          <p:cNvPr id="43" name="Graphic 42">
            <a:extLst>
              <a:ext uri="{FF2B5EF4-FFF2-40B4-BE49-F238E27FC236}">
                <a16:creationId xmlns:a16="http://schemas.microsoft.com/office/drawing/2014/main" id="{7964EEF5-8393-471C-8E9C-34FB1A6037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380266" y="516668"/>
            <a:ext cx="448877" cy="545934"/>
          </a:xfrm>
          <a:prstGeom prst="rect">
            <a:avLst/>
          </a:prstGeom>
        </p:spPr>
      </p:pic>
    </p:spTree>
    <p:extLst>
      <p:ext uri="{BB962C8B-B14F-4D97-AF65-F5344CB8AC3E}">
        <p14:creationId xmlns:p14="http://schemas.microsoft.com/office/powerpoint/2010/main" val="125505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AAF2850-0B65-48B1-A7FA-0146BBB53C6E}"/>
              </a:ext>
            </a:extLst>
          </p:cNvPr>
          <p:cNvPicPr>
            <a:picLocks noChangeAspect="1"/>
          </p:cNvPicPr>
          <p:nvPr/>
        </p:nvPicPr>
        <p:blipFill>
          <a:blip r:embed="rId3"/>
          <a:stretch>
            <a:fillRect/>
          </a:stretch>
        </p:blipFill>
        <p:spPr>
          <a:xfrm>
            <a:off x="8083296" y="1536192"/>
            <a:ext cx="3446272" cy="1938528"/>
          </a:xfrm>
          <a:prstGeom prst="rect">
            <a:avLst/>
          </a:prstGeom>
          <a:effectLst>
            <a:outerShdw blurRad="254000" dist="76200" dir="2700000" algn="ctr" rotWithShape="0">
              <a:srgbClr val="000000">
                <a:alpha val="40000"/>
              </a:srgbClr>
            </a:outerShdw>
          </a:effectLst>
        </p:spPr>
      </p:pic>
      <p:pic>
        <p:nvPicPr>
          <p:cNvPr id="3" name="Picture 2">
            <a:extLst>
              <a:ext uri="{FF2B5EF4-FFF2-40B4-BE49-F238E27FC236}">
                <a16:creationId xmlns:a16="http://schemas.microsoft.com/office/drawing/2014/main" id="{AC4DB422-26BC-4D16-9F6C-E8BF0F1A5B64}"/>
              </a:ext>
            </a:extLst>
          </p:cNvPr>
          <p:cNvPicPr>
            <a:picLocks noChangeAspect="1"/>
          </p:cNvPicPr>
          <p:nvPr/>
        </p:nvPicPr>
        <p:blipFill>
          <a:blip r:embed="rId4"/>
          <a:stretch>
            <a:fillRect/>
          </a:stretch>
        </p:blipFill>
        <p:spPr>
          <a:xfrm>
            <a:off x="4464716" y="1536192"/>
            <a:ext cx="3446272" cy="1938528"/>
          </a:xfrm>
          <a:prstGeom prst="rect">
            <a:avLst/>
          </a:prstGeom>
          <a:effectLst>
            <a:outerShdw blurRad="254000" dist="76200" dir="2700000" algn="ctr" rotWithShape="0">
              <a:srgbClr val="000000">
                <a:alpha val="40000"/>
              </a:srgbClr>
            </a:outerShdw>
          </a:effectLst>
        </p:spPr>
      </p:pic>
      <p:grpSp>
        <p:nvGrpSpPr>
          <p:cNvPr id="115" name="Group 114">
            <a:extLst>
              <a:ext uri="{FF2B5EF4-FFF2-40B4-BE49-F238E27FC236}">
                <a16:creationId xmlns:a16="http://schemas.microsoft.com/office/drawing/2014/main" id="{29D40792-AD38-448F-B274-ED1F70BB4636}"/>
              </a:ext>
            </a:extLst>
          </p:cNvPr>
          <p:cNvGrpSpPr/>
          <p:nvPr/>
        </p:nvGrpSpPr>
        <p:grpSpPr>
          <a:xfrm>
            <a:off x="915581" y="4734481"/>
            <a:ext cx="10605312" cy="1713647"/>
            <a:chOff x="896845" y="4642069"/>
            <a:chExt cx="10398311" cy="1680199"/>
          </a:xfrm>
        </p:grpSpPr>
        <p:grpSp>
          <p:nvGrpSpPr>
            <p:cNvPr id="116" name="Group 115">
              <a:extLst>
                <a:ext uri="{FF2B5EF4-FFF2-40B4-BE49-F238E27FC236}">
                  <a16:creationId xmlns:a16="http://schemas.microsoft.com/office/drawing/2014/main" id="{A07CD86D-0B4E-4AAD-823D-9AC8074BB85C}"/>
                </a:ext>
              </a:extLst>
            </p:cNvPr>
            <p:cNvGrpSpPr/>
            <p:nvPr/>
          </p:nvGrpSpPr>
          <p:grpSpPr>
            <a:xfrm>
              <a:off x="896845" y="4642069"/>
              <a:ext cx="10398311" cy="1680199"/>
              <a:chOff x="896845" y="4642069"/>
              <a:chExt cx="10398311" cy="1680199"/>
            </a:xfrm>
          </p:grpSpPr>
          <p:sp>
            <p:nvSpPr>
              <p:cNvPr id="120" name="Rectangle 119">
                <a:extLst>
                  <a:ext uri="{FF2B5EF4-FFF2-40B4-BE49-F238E27FC236}">
                    <a16:creationId xmlns:a16="http://schemas.microsoft.com/office/drawing/2014/main" id="{FB06826A-7FEF-4843-9F72-66AC69ABD431}"/>
                  </a:ext>
                </a:extLst>
              </p:cNvPr>
              <p:cNvSpPr/>
              <p:nvPr/>
            </p:nvSpPr>
            <p:spPr bwMode="auto">
              <a:xfrm>
                <a:off x="896845" y="4642069"/>
                <a:ext cx="10398311" cy="1680199"/>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17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C90C6A78-BA6E-4ACF-8C01-065C561E7F91}"/>
                  </a:ext>
                </a:extLst>
              </p:cNvPr>
              <p:cNvGrpSpPr/>
              <p:nvPr/>
            </p:nvGrpSpPr>
            <p:grpSpPr>
              <a:xfrm>
                <a:off x="4317026" y="4871251"/>
                <a:ext cx="3492367" cy="1292542"/>
                <a:chOff x="4317026" y="4871251"/>
                <a:chExt cx="3492367" cy="1292542"/>
              </a:xfrm>
            </p:grpSpPr>
            <p:cxnSp>
              <p:nvCxnSpPr>
                <p:cNvPr id="122" name="Straight Connector 121">
                  <a:extLst>
                    <a:ext uri="{FF2B5EF4-FFF2-40B4-BE49-F238E27FC236}">
                      <a16:creationId xmlns:a16="http://schemas.microsoft.com/office/drawing/2014/main" id="{9B8176F7-3736-4189-B759-C4EF1AFCA2B9}"/>
                    </a:ext>
                  </a:extLst>
                </p:cNvPr>
                <p:cNvCxnSpPr/>
                <p:nvPr/>
              </p:nvCxnSpPr>
              <p:spPr>
                <a:xfrm>
                  <a:off x="4317026" y="4871251"/>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6E3E6FC-2E73-4FBC-8375-F19F691CF47E}"/>
                    </a:ext>
                  </a:extLst>
                </p:cNvPr>
                <p:cNvCxnSpPr/>
                <p:nvPr/>
              </p:nvCxnSpPr>
              <p:spPr>
                <a:xfrm>
                  <a:off x="7809393" y="4871251"/>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1E17BFE-5B3A-45A6-83D4-574DA44A29DE}"/>
                    </a:ext>
                  </a:extLst>
                </p:cNvPr>
                <p:cNvCxnSpPr/>
                <p:nvPr/>
              </p:nvCxnSpPr>
              <p:spPr>
                <a:xfrm>
                  <a:off x="4317026" y="5188445"/>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1EABBA1-D1B3-4BEB-8C24-F4088495F67D}"/>
                    </a:ext>
                  </a:extLst>
                </p:cNvPr>
                <p:cNvCxnSpPr/>
                <p:nvPr/>
              </p:nvCxnSpPr>
              <p:spPr>
                <a:xfrm>
                  <a:off x="7809393" y="5188445"/>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8" name="Rectangle 117">
              <a:extLst>
                <a:ext uri="{FF2B5EF4-FFF2-40B4-BE49-F238E27FC236}">
                  <a16:creationId xmlns:a16="http://schemas.microsoft.com/office/drawing/2014/main" id="{BD1684EA-038E-4B3B-8ECB-F6C6243B9323}"/>
                </a:ext>
              </a:extLst>
            </p:cNvPr>
            <p:cNvSpPr/>
            <p:nvPr/>
          </p:nvSpPr>
          <p:spPr>
            <a:xfrm>
              <a:off x="5028987" y="5333476"/>
              <a:ext cx="2086231" cy="618627"/>
            </a:xfrm>
            <a:prstGeom prst="rect">
              <a:avLst/>
            </a:prstGeom>
          </p:spPr>
          <p:txBody>
            <a:bodyPr wrap="none" lIns="0">
              <a:spAutoFit/>
            </a:bodyPr>
            <a:lstStyle/>
            <a:p>
              <a:pPr algn="ctr" defTabSz="932563" rtl="0">
                <a:defRPr/>
              </a:pPr>
              <a: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t>Gardez les données </a:t>
              </a:r>
              <a:br>
                <a:rPr lang="th-TH"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br>
              <a: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t>client à jour</a:t>
              </a:r>
            </a:p>
          </p:txBody>
        </p:sp>
        <p:sp>
          <p:nvSpPr>
            <p:cNvPr id="119" name="Rectangle 118">
              <a:extLst>
                <a:ext uri="{FF2B5EF4-FFF2-40B4-BE49-F238E27FC236}">
                  <a16:creationId xmlns:a16="http://schemas.microsoft.com/office/drawing/2014/main" id="{3D123480-5E3B-48CF-B7F3-99116016A74E}"/>
                </a:ext>
              </a:extLst>
            </p:cNvPr>
            <p:cNvSpPr/>
            <p:nvPr/>
          </p:nvSpPr>
          <p:spPr>
            <a:xfrm>
              <a:off x="1426665" y="5333476"/>
              <a:ext cx="2333619" cy="882674"/>
            </a:xfrm>
            <a:prstGeom prst="rect">
              <a:avLst/>
            </a:prstGeom>
          </p:spPr>
          <p:txBody>
            <a:bodyPr wrap="none" lIns="0">
              <a:spAutoFit/>
            </a:bodyPr>
            <a:lstStyle/>
            <a:p>
              <a:pPr algn="ctr" defTabSz="932563" rtl="0">
                <a:defRPr/>
              </a:pP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Rationalisez la vente </a:t>
              </a:r>
              <a:b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b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grâce à des processus </a:t>
              </a:r>
              <a:b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br>
              <a:r>
                <a:rPr lang="fr-fr" sz="1750" b="0" i="0" u="none" baseline="0" dirty="0">
                  <a:gradFill>
                    <a:gsLst>
                      <a:gs pos="0">
                        <a:srgbClr val="3C3C41"/>
                      </a:gs>
                      <a:gs pos="100000">
                        <a:srgbClr val="3C3C41"/>
                      </a:gs>
                    </a:gsLst>
                    <a:lin ang="5400000" scaled="1"/>
                  </a:gradFill>
                  <a:latin typeface="Segoe UI Semibold" panose="020B0702040204020203" pitchFamily="34" charset="0"/>
                  <a:ea typeface="Calibri" panose="020F0502020204030204" pitchFamily="34" charset="0"/>
                  <a:cs typeface="Segoe UI Semibold" panose="020B0702040204020203" pitchFamily="34" charset="0"/>
                </a:rPr>
                <a:t>numériques connectés</a:t>
              </a:r>
            </a:p>
          </p:txBody>
        </p:sp>
      </p:grpSp>
      <p:sp>
        <p:nvSpPr>
          <p:cNvPr id="2" name="Title 1">
            <a:extLst>
              <a:ext uri="{FF2B5EF4-FFF2-40B4-BE49-F238E27FC236}">
                <a16:creationId xmlns:a16="http://schemas.microsoft.com/office/drawing/2014/main" id="{B271C5AB-29F1-4C22-B74E-A88A836D4CF3}"/>
              </a:ext>
            </a:extLst>
          </p:cNvPr>
          <p:cNvSpPr>
            <a:spLocks noGrp="1"/>
          </p:cNvSpPr>
          <p:nvPr>
            <p:ph type="title"/>
          </p:nvPr>
        </p:nvSpPr>
        <p:spPr/>
        <p:txBody>
          <a:bodyPr/>
          <a:lstStyle/>
          <a:p>
            <a:pPr algn="l" rtl="0"/>
            <a:r>
              <a:rPr lang="fr-fr" b="0" i="0" u="none" baseline="0"/>
              <a:t>Réduire le coût des ventes</a:t>
            </a:r>
          </a:p>
        </p:txBody>
      </p:sp>
      <p:sp>
        <p:nvSpPr>
          <p:cNvPr id="146" name="Oval 145">
            <a:extLst>
              <a:ext uri="{FF2B5EF4-FFF2-40B4-BE49-F238E27FC236}">
                <a16:creationId xmlns:a16="http://schemas.microsoft.com/office/drawing/2014/main" id="{0D80F5BD-5478-4F07-96A8-C9EE9B125FB1}"/>
              </a:ext>
            </a:extLst>
          </p:cNvPr>
          <p:cNvSpPr/>
          <p:nvPr/>
        </p:nvSpPr>
        <p:spPr bwMode="auto">
          <a:xfrm flipH="1">
            <a:off x="11195070" y="391045"/>
            <a:ext cx="803626" cy="803626"/>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fr-fr"/>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sp>
        <p:nvSpPr>
          <p:cNvPr id="126" name="Oval 125">
            <a:extLst>
              <a:ext uri="{FF2B5EF4-FFF2-40B4-BE49-F238E27FC236}">
                <a16:creationId xmlns:a16="http://schemas.microsoft.com/office/drawing/2014/main" id="{C996C4BE-4494-4890-A583-FA18C207972E}"/>
              </a:ext>
            </a:extLst>
          </p:cNvPr>
          <p:cNvSpPr/>
          <p:nvPr/>
        </p:nvSpPr>
        <p:spPr bwMode="auto">
          <a:xfrm>
            <a:off x="2086000" y="4179669"/>
            <a:ext cx="1084962" cy="1084962"/>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sp>
        <p:nvSpPr>
          <p:cNvPr id="138" name="Oval 137">
            <a:extLst>
              <a:ext uri="{FF2B5EF4-FFF2-40B4-BE49-F238E27FC236}">
                <a16:creationId xmlns:a16="http://schemas.microsoft.com/office/drawing/2014/main" id="{3D6C9C92-5D13-42CF-BC6C-0A55B2730EB9}"/>
              </a:ext>
            </a:extLst>
          </p:cNvPr>
          <p:cNvSpPr/>
          <p:nvPr/>
        </p:nvSpPr>
        <p:spPr bwMode="auto">
          <a:xfrm>
            <a:off x="9199731" y="4179669"/>
            <a:ext cx="1084962" cy="1084962"/>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sp>
        <p:nvSpPr>
          <p:cNvPr id="128" name="Oval 127">
            <a:extLst>
              <a:ext uri="{FF2B5EF4-FFF2-40B4-BE49-F238E27FC236}">
                <a16:creationId xmlns:a16="http://schemas.microsoft.com/office/drawing/2014/main" id="{4CB04506-8510-43A8-96A0-DB826F5E9A46}"/>
              </a:ext>
            </a:extLst>
          </p:cNvPr>
          <p:cNvSpPr/>
          <p:nvPr/>
        </p:nvSpPr>
        <p:spPr bwMode="auto">
          <a:xfrm>
            <a:off x="5645371" y="4179669"/>
            <a:ext cx="1084962" cy="1084962"/>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rtl="0" fontAlgn="base">
              <a:lnSpc>
                <a:spcPct val="90000"/>
              </a:lnSpc>
              <a:spcBef>
                <a:spcPct val="0"/>
              </a:spcBef>
              <a:spcAft>
                <a:spcPct val="0"/>
              </a:spcAft>
              <a:defRPr/>
            </a:pPr>
            <a:endParaRPr lang="fr-fr" sz="2448" kern="0">
              <a:gradFill>
                <a:gsLst>
                  <a:gs pos="0">
                    <a:srgbClr val="FFFFFF"/>
                  </a:gs>
                  <a:gs pos="100000">
                    <a:srgbClr val="FFFFFF"/>
                  </a:gs>
                </a:gsLst>
                <a:lin ang="5400000" scaled="0"/>
              </a:gradFill>
              <a:latin typeface="Segoe UI"/>
              <a:cs typeface="Segoe UI" pitchFamily="34" charset="0"/>
            </a:endParaRPr>
          </a:p>
        </p:txBody>
      </p:sp>
      <p:grpSp>
        <p:nvGrpSpPr>
          <p:cNvPr id="105" name="Group 104">
            <a:extLst>
              <a:ext uri="{FF2B5EF4-FFF2-40B4-BE49-F238E27FC236}">
                <a16:creationId xmlns:a16="http://schemas.microsoft.com/office/drawing/2014/main" id="{4CC35816-6D26-421D-88F7-7482678B6EC1}"/>
              </a:ext>
            </a:extLst>
          </p:cNvPr>
          <p:cNvGrpSpPr/>
          <p:nvPr/>
        </p:nvGrpSpPr>
        <p:grpSpPr>
          <a:xfrm>
            <a:off x="2332677" y="4452607"/>
            <a:ext cx="583027" cy="486514"/>
            <a:chOff x="10082121" y="5760490"/>
            <a:chExt cx="536745" cy="442025"/>
          </a:xfrm>
          <a:solidFill>
            <a:schemeClr val="tx1"/>
          </a:solidFill>
        </p:grpSpPr>
        <p:sp>
          <p:nvSpPr>
            <p:cNvPr id="106" name="Freeform 1403">
              <a:extLst>
                <a:ext uri="{FF2B5EF4-FFF2-40B4-BE49-F238E27FC236}">
                  <a16:creationId xmlns:a16="http://schemas.microsoft.com/office/drawing/2014/main" id="{D4DEC0B7-26B3-49B1-9BC8-8116811BBAD7}"/>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7" name="Freeform 1404">
              <a:extLst>
                <a:ext uri="{FF2B5EF4-FFF2-40B4-BE49-F238E27FC236}">
                  <a16:creationId xmlns:a16="http://schemas.microsoft.com/office/drawing/2014/main" id="{1A967DD3-522E-4B75-9C17-58F148CC5FD4}"/>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8" name="Freeform 1405">
              <a:extLst>
                <a:ext uri="{FF2B5EF4-FFF2-40B4-BE49-F238E27FC236}">
                  <a16:creationId xmlns:a16="http://schemas.microsoft.com/office/drawing/2014/main" id="{5550B740-8190-4BDD-9CAD-01EA8AE97CD2}"/>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9" name="Freeform 1406">
              <a:extLst>
                <a:ext uri="{FF2B5EF4-FFF2-40B4-BE49-F238E27FC236}">
                  <a16:creationId xmlns:a16="http://schemas.microsoft.com/office/drawing/2014/main" id="{050F1E67-BFEF-45F7-B7D3-02A8ABB7F5C5}"/>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0" name="Freeform 1407">
              <a:extLst>
                <a:ext uri="{FF2B5EF4-FFF2-40B4-BE49-F238E27FC236}">
                  <a16:creationId xmlns:a16="http://schemas.microsoft.com/office/drawing/2014/main" id="{46D63D9A-290A-4F61-A662-ED9B672E0193}"/>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1" name="Freeform 1408">
              <a:extLst>
                <a:ext uri="{FF2B5EF4-FFF2-40B4-BE49-F238E27FC236}">
                  <a16:creationId xmlns:a16="http://schemas.microsoft.com/office/drawing/2014/main" id="{3136EF5D-2441-4597-9D59-625F171196F8}"/>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113" name="Picture 112">
            <a:extLst>
              <a:ext uri="{FF2B5EF4-FFF2-40B4-BE49-F238E27FC236}">
                <a16:creationId xmlns:a16="http://schemas.microsoft.com/office/drawing/2014/main" id="{7F828CFF-0A05-409E-8D8E-CB2798889AB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31261" y="1534532"/>
            <a:ext cx="3434075" cy="1938528"/>
          </a:xfrm>
          <a:prstGeom prst="rect">
            <a:avLst/>
          </a:prstGeom>
          <a:effectLst>
            <a:outerShdw blurRad="254000" dist="76200" dir="2700000" algn="ctr" rotWithShape="0">
              <a:srgbClr val="000000">
                <a:alpha val="40000"/>
              </a:srgbClr>
            </a:outerShdw>
          </a:effectLst>
        </p:spPr>
      </p:pic>
      <p:grpSp>
        <p:nvGrpSpPr>
          <p:cNvPr id="4" name="Group 3">
            <a:extLst>
              <a:ext uri="{FF2B5EF4-FFF2-40B4-BE49-F238E27FC236}">
                <a16:creationId xmlns:a16="http://schemas.microsoft.com/office/drawing/2014/main" id="{287D7D54-2712-4761-960F-E0140BDAB9B2}"/>
              </a:ext>
            </a:extLst>
          </p:cNvPr>
          <p:cNvGrpSpPr/>
          <p:nvPr/>
        </p:nvGrpSpPr>
        <p:grpSpPr>
          <a:xfrm>
            <a:off x="719901" y="1817385"/>
            <a:ext cx="3220982" cy="2056672"/>
            <a:chOff x="805632" y="1819479"/>
            <a:chExt cx="3220982" cy="2056672"/>
          </a:xfrm>
        </p:grpSpPr>
        <p:sp>
          <p:nvSpPr>
            <p:cNvPr id="129" name="Freeform: Shape 128">
              <a:extLst>
                <a:ext uri="{FF2B5EF4-FFF2-40B4-BE49-F238E27FC236}">
                  <a16:creationId xmlns:a16="http://schemas.microsoft.com/office/drawing/2014/main" id="{18AA0F10-8718-4FA9-9D15-1D2C221EF02A}"/>
                </a:ext>
              </a:extLst>
            </p:cNvPr>
            <p:cNvSpPr/>
            <p:nvPr/>
          </p:nvSpPr>
          <p:spPr bwMode="auto">
            <a:xfrm rot="912826">
              <a:off x="805632" y="2014875"/>
              <a:ext cx="2652869" cy="1405719"/>
            </a:xfrm>
            <a:custGeom>
              <a:avLst/>
              <a:gdLst>
                <a:gd name="connsiteX0" fmla="*/ 372403 w 2106670"/>
                <a:gd name="connsiteY0" fmla="*/ 0 h 1665382"/>
                <a:gd name="connsiteX1" fmla="*/ 429894 w 2106670"/>
                <a:gd name="connsiteY1" fmla="*/ 5796 h 1665382"/>
                <a:gd name="connsiteX2" fmla="*/ 430022 w 2106670"/>
                <a:gd name="connsiteY2" fmla="*/ 5440 h 1665382"/>
                <a:gd name="connsiteX3" fmla="*/ 2106670 w 2106670"/>
                <a:gd name="connsiteY3" fmla="*/ 166415 h 1665382"/>
                <a:gd name="connsiteX4" fmla="*/ 1878070 w 2106670"/>
                <a:gd name="connsiteY4" fmla="*/ 1665382 h 1665382"/>
                <a:gd name="connsiteX5" fmla="*/ 195120 w 2106670"/>
                <a:gd name="connsiteY5" fmla="*/ 697994 h 1665382"/>
                <a:gd name="connsiteX6" fmla="*/ 164189 w 2106670"/>
                <a:gd name="connsiteY6" fmla="*/ 681205 h 1665382"/>
                <a:gd name="connsiteX7" fmla="*/ 0 w 2106670"/>
                <a:gd name="connsiteY7" fmla="*/ 372403 h 1665382"/>
                <a:gd name="connsiteX8" fmla="*/ 372403 w 2106670"/>
                <a:gd name="connsiteY8" fmla="*/ 0 h 1665382"/>
                <a:gd name="connsiteX0" fmla="*/ 372403 w 2106670"/>
                <a:gd name="connsiteY0" fmla="*/ 0 h 1417565"/>
                <a:gd name="connsiteX1" fmla="*/ 429894 w 2106670"/>
                <a:gd name="connsiteY1" fmla="*/ 5796 h 1417565"/>
                <a:gd name="connsiteX2" fmla="*/ 430022 w 2106670"/>
                <a:gd name="connsiteY2" fmla="*/ 5440 h 1417565"/>
                <a:gd name="connsiteX3" fmla="*/ 2106670 w 2106670"/>
                <a:gd name="connsiteY3" fmla="*/ 166415 h 1417565"/>
                <a:gd name="connsiteX4" fmla="*/ 1393059 w 2106670"/>
                <a:gd name="connsiteY4" fmla="*/ 1417565 h 1417565"/>
                <a:gd name="connsiteX5" fmla="*/ 195120 w 2106670"/>
                <a:gd name="connsiteY5" fmla="*/ 697994 h 1417565"/>
                <a:gd name="connsiteX6" fmla="*/ 164189 w 2106670"/>
                <a:gd name="connsiteY6" fmla="*/ 681205 h 1417565"/>
                <a:gd name="connsiteX7" fmla="*/ 0 w 2106670"/>
                <a:gd name="connsiteY7" fmla="*/ 372403 h 1417565"/>
                <a:gd name="connsiteX8" fmla="*/ 372403 w 2106670"/>
                <a:gd name="connsiteY8" fmla="*/ 0 h 1417565"/>
                <a:gd name="connsiteX0" fmla="*/ 372403 w 1752624"/>
                <a:gd name="connsiteY0" fmla="*/ 77772 h 1495337"/>
                <a:gd name="connsiteX1" fmla="*/ 429894 w 1752624"/>
                <a:gd name="connsiteY1" fmla="*/ 83568 h 1495337"/>
                <a:gd name="connsiteX2" fmla="*/ 430022 w 1752624"/>
                <a:gd name="connsiteY2" fmla="*/ 83212 h 1495337"/>
                <a:gd name="connsiteX3" fmla="*/ 1752624 w 1752624"/>
                <a:gd name="connsiteY3" fmla="*/ 0 h 1495337"/>
                <a:gd name="connsiteX4" fmla="*/ 1393059 w 1752624"/>
                <a:gd name="connsiteY4" fmla="*/ 1495337 h 1495337"/>
                <a:gd name="connsiteX5" fmla="*/ 195120 w 1752624"/>
                <a:gd name="connsiteY5" fmla="*/ 775766 h 1495337"/>
                <a:gd name="connsiteX6" fmla="*/ 164189 w 1752624"/>
                <a:gd name="connsiteY6" fmla="*/ 758977 h 1495337"/>
                <a:gd name="connsiteX7" fmla="*/ 0 w 1752624"/>
                <a:gd name="connsiteY7" fmla="*/ 450175 h 1495337"/>
                <a:gd name="connsiteX8" fmla="*/ 372403 w 1752624"/>
                <a:gd name="connsiteY8" fmla="*/ 77772 h 1495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24" h="1495337">
                  <a:moveTo>
                    <a:pt x="372403" y="77772"/>
                  </a:moveTo>
                  <a:lnTo>
                    <a:pt x="429894" y="83568"/>
                  </a:lnTo>
                  <a:cubicBezTo>
                    <a:pt x="429937" y="83449"/>
                    <a:pt x="429979" y="83331"/>
                    <a:pt x="430022" y="83212"/>
                  </a:cubicBezTo>
                  <a:lnTo>
                    <a:pt x="1752624" y="0"/>
                  </a:lnTo>
                  <a:lnTo>
                    <a:pt x="1393059" y="1495337"/>
                  </a:lnTo>
                  <a:lnTo>
                    <a:pt x="195120" y="775766"/>
                  </a:lnTo>
                  <a:lnTo>
                    <a:pt x="164189" y="758977"/>
                  </a:lnTo>
                  <a:cubicBezTo>
                    <a:pt x="65129" y="692054"/>
                    <a:pt x="0" y="578720"/>
                    <a:pt x="0" y="450175"/>
                  </a:cubicBezTo>
                  <a:cubicBezTo>
                    <a:pt x="0" y="244503"/>
                    <a:pt x="166731" y="77772"/>
                    <a:pt x="372403" y="77772"/>
                  </a:cubicBezTo>
                  <a:close/>
                </a:path>
              </a:pathLst>
            </a:custGeom>
            <a:solidFill>
              <a:schemeClr val="accent2">
                <a:alpha val="37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pic>
          <p:nvPicPr>
            <p:cNvPr id="131" name="Picture 130">
              <a:extLst>
                <a:ext uri="{FF2B5EF4-FFF2-40B4-BE49-F238E27FC236}">
                  <a16:creationId xmlns:a16="http://schemas.microsoft.com/office/drawing/2014/main" id="{374A44FC-10BA-4B05-8C88-280AB7343F7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669" t="13198" r="80535" b="53506"/>
            <a:stretch/>
          </p:blipFill>
          <p:spPr>
            <a:xfrm>
              <a:off x="2496864" y="2346401"/>
              <a:ext cx="1529750" cy="1529750"/>
            </a:xfrm>
            <a:prstGeom prst="ellipse">
              <a:avLst/>
            </a:prstGeom>
            <a:ln w="38100">
              <a:solidFill>
                <a:schemeClr val="tx1"/>
              </a:solidFill>
            </a:ln>
            <a:effectLst>
              <a:outerShdw blurRad="254000" dist="76200" dir="2700000" algn="ctr" rotWithShape="0">
                <a:srgbClr val="000000">
                  <a:alpha val="40000"/>
                </a:srgbClr>
              </a:outerShdw>
            </a:effectLst>
          </p:spPr>
        </p:pic>
        <p:sp>
          <p:nvSpPr>
            <p:cNvPr id="127" name="Oval 126">
              <a:extLst>
                <a:ext uri="{FF2B5EF4-FFF2-40B4-BE49-F238E27FC236}">
                  <a16:creationId xmlns:a16="http://schemas.microsoft.com/office/drawing/2014/main" id="{B9F79D5A-B1DB-4C8E-B5EF-F9FB32EF3B3A}"/>
                </a:ext>
              </a:extLst>
            </p:cNvPr>
            <p:cNvSpPr/>
            <p:nvPr/>
          </p:nvSpPr>
          <p:spPr bwMode="auto">
            <a:xfrm rot="912826">
              <a:off x="926530" y="1819479"/>
              <a:ext cx="745609" cy="727623"/>
            </a:xfrm>
            <a:prstGeom prst="ellipse">
              <a:avLst/>
            </a:prstGeom>
            <a:solidFill>
              <a:schemeClr val="accent2">
                <a:alpha val="67843"/>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grpSp>
      <p:sp>
        <p:nvSpPr>
          <p:cNvPr id="71" name="Rectangle 70">
            <a:extLst>
              <a:ext uri="{FF2B5EF4-FFF2-40B4-BE49-F238E27FC236}">
                <a16:creationId xmlns:a16="http://schemas.microsoft.com/office/drawing/2014/main" id="{6533F8D7-BAF6-C447-9A07-6BE5C1421D1B}"/>
              </a:ext>
            </a:extLst>
          </p:cNvPr>
          <p:cNvSpPr/>
          <p:nvPr/>
        </p:nvSpPr>
        <p:spPr>
          <a:xfrm>
            <a:off x="8424839" y="5366368"/>
            <a:ext cx="2682121" cy="900246"/>
          </a:xfrm>
          <a:prstGeom prst="rect">
            <a:avLst/>
          </a:prstGeom>
        </p:spPr>
        <p:txBody>
          <a:bodyPr wrap="square" lIns="0">
            <a:spAutoFit/>
          </a:bodyPr>
          <a:lstStyle/>
          <a:p>
            <a:pPr algn="ctr" defTabSz="932563" rtl="0">
              <a:defRPr/>
            </a:pPr>
            <a: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t>Bénéficiez d</a:t>
            </a:r>
            <a: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t>’</a:t>
            </a:r>
            <a:r>
              <a:rPr lang="fr-fr" sz="1750" b="0" i="0" u="none" baseline="0" dirty="0">
                <a:gradFill>
                  <a:gsLst>
                    <a:gs pos="0">
                      <a:srgbClr val="3C3C41"/>
                    </a:gs>
                    <a:gs pos="100000">
                      <a:srgbClr val="3C3C41"/>
                    </a:gs>
                  </a:gsLst>
                  <a:lin ang="5400000" scaled="1"/>
                </a:gradFill>
                <a:latin typeface="Segoe UI Semibold" panose="020B0702040204020203" pitchFamily="34" charset="0"/>
                <a:ea typeface="Times New Roman" panose="02020603050405020304" pitchFamily="18" charset="0"/>
                <a:cs typeface="Segoe UI Semibold" panose="020B0702040204020203" pitchFamily="34" charset="0"/>
              </a:rPr>
              <a:t>un contexte complet grâce à un calendrier unifié</a:t>
            </a:r>
          </a:p>
        </p:txBody>
      </p:sp>
      <p:grpSp>
        <p:nvGrpSpPr>
          <p:cNvPr id="9" name="Group 8">
            <a:extLst>
              <a:ext uri="{FF2B5EF4-FFF2-40B4-BE49-F238E27FC236}">
                <a16:creationId xmlns:a16="http://schemas.microsoft.com/office/drawing/2014/main" id="{1A8EBF09-105D-45FF-95AC-24B4F8B28FBF}"/>
              </a:ext>
            </a:extLst>
          </p:cNvPr>
          <p:cNvGrpSpPr/>
          <p:nvPr/>
        </p:nvGrpSpPr>
        <p:grpSpPr>
          <a:xfrm rot="21184269">
            <a:off x="4763667" y="1518833"/>
            <a:ext cx="2601064" cy="1948491"/>
            <a:chOff x="5252220" y="1452116"/>
            <a:chExt cx="2601064" cy="1948491"/>
          </a:xfrm>
        </p:grpSpPr>
        <p:sp>
          <p:nvSpPr>
            <p:cNvPr id="134" name="Freeform: Shape 133">
              <a:extLst>
                <a:ext uri="{FF2B5EF4-FFF2-40B4-BE49-F238E27FC236}">
                  <a16:creationId xmlns:a16="http://schemas.microsoft.com/office/drawing/2014/main" id="{F95C1CCF-F04F-40C8-88E0-5A95A5AC32C0}"/>
                </a:ext>
              </a:extLst>
            </p:cNvPr>
            <p:cNvSpPr/>
            <p:nvPr/>
          </p:nvSpPr>
          <p:spPr bwMode="auto">
            <a:xfrm rot="2087692">
              <a:off x="5252220" y="1801255"/>
              <a:ext cx="2601064" cy="1599352"/>
            </a:xfrm>
            <a:custGeom>
              <a:avLst/>
              <a:gdLst>
                <a:gd name="connsiteX0" fmla="*/ 372403 w 2106670"/>
                <a:gd name="connsiteY0" fmla="*/ 0 h 1665382"/>
                <a:gd name="connsiteX1" fmla="*/ 429894 w 2106670"/>
                <a:gd name="connsiteY1" fmla="*/ 5796 h 1665382"/>
                <a:gd name="connsiteX2" fmla="*/ 430022 w 2106670"/>
                <a:gd name="connsiteY2" fmla="*/ 5440 h 1665382"/>
                <a:gd name="connsiteX3" fmla="*/ 2106670 w 2106670"/>
                <a:gd name="connsiteY3" fmla="*/ 166415 h 1665382"/>
                <a:gd name="connsiteX4" fmla="*/ 1878070 w 2106670"/>
                <a:gd name="connsiteY4" fmla="*/ 1665382 h 1665382"/>
                <a:gd name="connsiteX5" fmla="*/ 195120 w 2106670"/>
                <a:gd name="connsiteY5" fmla="*/ 697994 h 1665382"/>
                <a:gd name="connsiteX6" fmla="*/ 164189 w 2106670"/>
                <a:gd name="connsiteY6" fmla="*/ 681205 h 1665382"/>
                <a:gd name="connsiteX7" fmla="*/ 0 w 2106670"/>
                <a:gd name="connsiteY7" fmla="*/ 372403 h 1665382"/>
                <a:gd name="connsiteX8" fmla="*/ 372403 w 2106670"/>
                <a:gd name="connsiteY8" fmla="*/ 0 h 1665382"/>
                <a:gd name="connsiteX0" fmla="*/ 372403 w 2106670"/>
                <a:gd name="connsiteY0" fmla="*/ 0 h 1417565"/>
                <a:gd name="connsiteX1" fmla="*/ 429894 w 2106670"/>
                <a:gd name="connsiteY1" fmla="*/ 5796 h 1417565"/>
                <a:gd name="connsiteX2" fmla="*/ 430022 w 2106670"/>
                <a:gd name="connsiteY2" fmla="*/ 5440 h 1417565"/>
                <a:gd name="connsiteX3" fmla="*/ 2106670 w 2106670"/>
                <a:gd name="connsiteY3" fmla="*/ 166415 h 1417565"/>
                <a:gd name="connsiteX4" fmla="*/ 1393059 w 2106670"/>
                <a:gd name="connsiteY4" fmla="*/ 1417565 h 1417565"/>
                <a:gd name="connsiteX5" fmla="*/ 195120 w 2106670"/>
                <a:gd name="connsiteY5" fmla="*/ 697994 h 1417565"/>
                <a:gd name="connsiteX6" fmla="*/ 164189 w 2106670"/>
                <a:gd name="connsiteY6" fmla="*/ 681205 h 1417565"/>
                <a:gd name="connsiteX7" fmla="*/ 0 w 2106670"/>
                <a:gd name="connsiteY7" fmla="*/ 372403 h 1417565"/>
                <a:gd name="connsiteX8" fmla="*/ 372403 w 2106670"/>
                <a:gd name="connsiteY8" fmla="*/ 0 h 1417565"/>
                <a:gd name="connsiteX0" fmla="*/ 372403 w 1752624"/>
                <a:gd name="connsiteY0" fmla="*/ 77772 h 1495337"/>
                <a:gd name="connsiteX1" fmla="*/ 429894 w 1752624"/>
                <a:gd name="connsiteY1" fmla="*/ 83568 h 1495337"/>
                <a:gd name="connsiteX2" fmla="*/ 430022 w 1752624"/>
                <a:gd name="connsiteY2" fmla="*/ 83212 h 1495337"/>
                <a:gd name="connsiteX3" fmla="*/ 1752624 w 1752624"/>
                <a:gd name="connsiteY3" fmla="*/ 0 h 1495337"/>
                <a:gd name="connsiteX4" fmla="*/ 1393059 w 1752624"/>
                <a:gd name="connsiteY4" fmla="*/ 1495337 h 1495337"/>
                <a:gd name="connsiteX5" fmla="*/ 195120 w 1752624"/>
                <a:gd name="connsiteY5" fmla="*/ 775766 h 1495337"/>
                <a:gd name="connsiteX6" fmla="*/ 164189 w 1752624"/>
                <a:gd name="connsiteY6" fmla="*/ 758977 h 1495337"/>
                <a:gd name="connsiteX7" fmla="*/ 0 w 1752624"/>
                <a:gd name="connsiteY7" fmla="*/ 450175 h 1495337"/>
                <a:gd name="connsiteX8" fmla="*/ 372403 w 1752624"/>
                <a:gd name="connsiteY8" fmla="*/ 77772 h 1495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24" h="1495337">
                  <a:moveTo>
                    <a:pt x="372403" y="77772"/>
                  </a:moveTo>
                  <a:lnTo>
                    <a:pt x="429894" y="83568"/>
                  </a:lnTo>
                  <a:cubicBezTo>
                    <a:pt x="429937" y="83449"/>
                    <a:pt x="429979" y="83331"/>
                    <a:pt x="430022" y="83212"/>
                  </a:cubicBezTo>
                  <a:lnTo>
                    <a:pt x="1752624" y="0"/>
                  </a:lnTo>
                  <a:lnTo>
                    <a:pt x="1393059" y="1495337"/>
                  </a:lnTo>
                  <a:lnTo>
                    <a:pt x="195120" y="775766"/>
                  </a:lnTo>
                  <a:lnTo>
                    <a:pt x="164189" y="758977"/>
                  </a:lnTo>
                  <a:cubicBezTo>
                    <a:pt x="65129" y="692054"/>
                    <a:pt x="0" y="578720"/>
                    <a:pt x="0" y="450175"/>
                  </a:cubicBezTo>
                  <a:cubicBezTo>
                    <a:pt x="0" y="244503"/>
                    <a:pt x="166731" y="77772"/>
                    <a:pt x="372403" y="77772"/>
                  </a:cubicBezTo>
                  <a:close/>
                </a:path>
              </a:pathLst>
            </a:custGeom>
            <a:solidFill>
              <a:schemeClr val="accent2">
                <a:alpha val="37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sp>
          <p:nvSpPr>
            <p:cNvPr id="133" name="Oval 132">
              <a:extLst>
                <a:ext uri="{FF2B5EF4-FFF2-40B4-BE49-F238E27FC236}">
                  <a16:creationId xmlns:a16="http://schemas.microsoft.com/office/drawing/2014/main" id="{3EBB5ED7-9F6A-478D-98B0-5D3AB179C7C0}"/>
                </a:ext>
              </a:extLst>
            </p:cNvPr>
            <p:cNvSpPr/>
            <p:nvPr/>
          </p:nvSpPr>
          <p:spPr bwMode="auto">
            <a:xfrm rot="963057">
              <a:off x="5619458" y="1452116"/>
              <a:ext cx="759632" cy="759632"/>
            </a:xfrm>
            <a:prstGeom prst="ellipse">
              <a:avLst/>
            </a:prstGeom>
            <a:solidFill>
              <a:schemeClr val="accent2">
                <a:alpha val="67843"/>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grpSp>
      <p:grpSp>
        <p:nvGrpSpPr>
          <p:cNvPr id="144" name="Group 143">
            <a:extLst>
              <a:ext uri="{FF2B5EF4-FFF2-40B4-BE49-F238E27FC236}">
                <a16:creationId xmlns:a16="http://schemas.microsoft.com/office/drawing/2014/main" id="{F975DD58-BFDD-42D8-8E79-F23AAC3A0373}"/>
              </a:ext>
            </a:extLst>
          </p:cNvPr>
          <p:cNvGrpSpPr/>
          <p:nvPr/>
        </p:nvGrpSpPr>
        <p:grpSpPr>
          <a:xfrm rot="12893764">
            <a:off x="8973134" y="1822132"/>
            <a:ext cx="1666601" cy="1389196"/>
            <a:chOff x="904885" y="2189158"/>
            <a:chExt cx="1802041" cy="1534753"/>
          </a:xfrm>
        </p:grpSpPr>
        <p:sp>
          <p:nvSpPr>
            <p:cNvPr id="145" name="Oval 144">
              <a:extLst>
                <a:ext uri="{FF2B5EF4-FFF2-40B4-BE49-F238E27FC236}">
                  <a16:creationId xmlns:a16="http://schemas.microsoft.com/office/drawing/2014/main" id="{DAF7162F-AC6A-4EAD-B7EC-578F3E4ECB63}"/>
                </a:ext>
              </a:extLst>
            </p:cNvPr>
            <p:cNvSpPr/>
            <p:nvPr/>
          </p:nvSpPr>
          <p:spPr bwMode="auto">
            <a:xfrm>
              <a:off x="904886" y="2189160"/>
              <a:ext cx="744805" cy="744805"/>
            </a:xfrm>
            <a:prstGeom prst="ellipse">
              <a:avLst/>
            </a:prstGeom>
            <a:solidFill>
              <a:schemeClr val="accent2">
                <a:alpha val="67843"/>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sp>
          <p:nvSpPr>
            <p:cNvPr id="147" name="Freeform: Shape 146">
              <a:extLst>
                <a:ext uri="{FF2B5EF4-FFF2-40B4-BE49-F238E27FC236}">
                  <a16:creationId xmlns:a16="http://schemas.microsoft.com/office/drawing/2014/main" id="{6BF48E26-4507-4A1C-811A-A3FE078740DE}"/>
                </a:ext>
              </a:extLst>
            </p:cNvPr>
            <p:cNvSpPr/>
            <p:nvPr/>
          </p:nvSpPr>
          <p:spPr bwMode="auto">
            <a:xfrm>
              <a:off x="904885" y="2189158"/>
              <a:ext cx="1802041" cy="1534753"/>
            </a:xfrm>
            <a:custGeom>
              <a:avLst/>
              <a:gdLst>
                <a:gd name="connsiteX0" fmla="*/ 372403 w 2106670"/>
                <a:gd name="connsiteY0" fmla="*/ 0 h 1665382"/>
                <a:gd name="connsiteX1" fmla="*/ 429894 w 2106670"/>
                <a:gd name="connsiteY1" fmla="*/ 5796 h 1665382"/>
                <a:gd name="connsiteX2" fmla="*/ 430022 w 2106670"/>
                <a:gd name="connsiteY2" fmla="*/ 5440 h 1665382"/>
                <a:gd name="connsiteX3" fmla="*/ 2106670 w 2106670"/>
                <a:gd name="connsiteY3" fmla="*/ 166415 h 1665382"/>
                <a:gd name="connsiteX4" fmla="*/ 1878070 w 2106670"/>
                <a:gd name="connsiteY4" fmla="*/ 1665382 h 1665382"/>
                <a:gd name="connsiteX5" fmla="*/ 195120 w 2106670"/>
                <a:gd name="connsiteY5" fmla="*/ 697994 h 1665382"/>
                <a:gd name="connsiteX6" fmla="*/ 164189 w 2106670"/>
                <a:gd name="connsiteY6" fmla="*/ 681205 h 1665382"/>
                <a:gd name="connsiteX7" fmla="*/ 0 w 2106670"/>
                <a:gd name="connsiteY7" fmla="*/ 372403 h 1665382"/>
                <a:gd name="connsiteX8" fmla="*/ 372403 w 2106670"/>
                <a:gd name="connsiteY8" fmla="*/ 0 h 1665382"/>
                <a:gd name="connsiteX0" fmla="*/ 372403 w 2106670"/>
                <a:gd name="connsiteY0" fmla="*/ 0 h 1534753"/>
                <a:gd name="connsiteX1" fmla="*/ 429894 w 2106670"/>
                <a:gd name="connsiteY1" fmla="*/ 5796 h 1534753"/>
                <a:gd name="connsiteX2" fmla="*/ 430022 w 2106670"/>
                <a:gd name="connsiteY2" fmla="*/ 5440 h 1534753"/>
                <a:gd name="connsiteX3" fmla="*/ 2106670 w 2106670"/>
                <a:gd name="connsiteY3" fmla="*/ 166415 h 1534753"/>
                <a:gd name="connsiteX4" fmla="*/ 1787635 w 2106670"/>
                <a:gd name="connsiteY4" fmla="*/ 1534753 h 1534753"/>
                <a:gd name="connsiteX5" fmla="*/ 195120 w 2106670"/>
                <a:gd name="connsiteY5" fmla="*/ 697994 h 1534753"/>
                <a:gd name="connsiteX6" fmla="*/ 164189 w 2106670"/>
                <a:gd name="connsiteY6" fmla="*/ 681205 h 1534753"/>
                <a:gd name="connsiteX7" fmla="*/ 0 w 2106670"/>
                <a:gd name="connsiteY7" fmla="*/ 372403 h 1534753"/>
                <a:gd name="connsiteX8" fmla="*/ 372403 w 2106670"/>
                <a:gd name="connsiteY8" fmla="*/ 0 h 1534753"/>
                <a:gd name="connsiteX0" fmla="*/ 372403 w 2136815"/>
                <a:gd name="connsiteY0" fmla="*/ 0 h 1534753"/>
                <a:gd name="connsiteX1" fmla="*/ 429894 w 2136815"/>
                <a:gd name="connsiteY1" fmla="*/ 5796 h 1534753"/>
                <a:gd name="connsiteX2" fmla="*/ 430022 w 2136815"/>
                <a:gd name="connsiteY2" fmla="*/ 5440 h 1534753"/>
                <a:gd name="connsiteX3" fmla="*/ 2136815 w 2136815"/>
                <a:gd name="connsiteY3" fmla="*/ 86028 h 1534753"/>
                <a:gd name="connsiteX4" fmla="*/ 1787635 w 2136815"/>
                <a:gd name="connsiteY4" fmla="*/ 1534753 h 1534753"/>
                <a:gd name="connsiteX5" fmla="*/ 195120 w 2136815"/>
                <a:gd name="connsiteY5" fmla="*/ 697994 h 1534753"/>
                <a:gd name="connsiteX6" fmla="*/ 164189 w 2136815"/>
                <a:gd name="connsiteY6" fmla="*/ 681205 h 1534753"/>
                <a:gd name="connsiteX7" fmla="*/ 0 w 2136815"/>
                <a:gd name="connsiteY7" fmla="*/ 372403 h 1534753"/>
                <a:gd name="connsiteX8" fmla="*/ 372403 w 2136815"/>
                <a:gd name="connsiteY8" fmla="*/ 0 h 153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6815" h="1534753">
                  <a:moveTo>
                    <a:pt x="372403" y="0"/>
                  </a:moveTo>
                  <a:lnTo>
                    <a:pt x="429894" y="5796"/>
                  </a:lnTo>
                  <a:cubicBezTo>
                    <a:pt x="429937" y="5677"/>
                    <a:pt x="429979" y="5559"/>
                    <a:pt x="430022" y="5440"/>
                  </a:cubicBezTo>
                  <a:lnTo>
                    <a:pt x="2136815" y="86028"/>
                  </a:lnTo>
                  <a:lnTo>
                    <a:pt x="1787635" y="1534753"/>
                  </a:lnTo>
                  <a:lnTo>
                    <a:pt x="195120" y="697994"/>
                  </a:lnTo>
                  <a:lnTo>
                    <a:pt x="164189" y="681205"/>
                  </a:lnTo>
                  <a:cubicBezTo>
                    <a:pt x="65129" y="614282"/>
                    <a:pt x="0" y="500948"/>
                    <a:pt x="0" y="372403"/>
                  </a:cubicBezTo>
                  <a:cubicBezTo>
                    <a:pt x="0" y="166731"/>
                    <a:pt x="166731" y="0"/>
                    <a:pt x="372403" y="0"/>
                  </a:cubicBezTo>
                  <a:close/>
                </a:path>
              </a:pathLst>
            </a:custGeom>
            <a:solidFill>
              <a:schemeClr val="accent2">
                <a:alpha val="37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rtl="0"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a:cs typeface="Segoe UI" pitchFamily="34" charset="0"/>
              </a:endParaRPr>
            </a:p>
          </p:txBody>
        </p:sp>
      </p:grpSp>
      <p:grpSp>
        <p:nvGrpSpPr>
          <p:cNvPr id="60" name="Group 59">
            <a:extLst>
              <a:ext uri="{FF2B5EF4-FFF2-40B4-BE49-F238E27FC236}">
                <a16:creationId xmlns:a16="http://schemas.microsoft.com/office/drawing/2014/main" id="{FC607C3B-2D56-4B51-A4A8-E1587F169FF4}"/>
              </a:ext>
            </a:extLst>
          </p:cNvPr>
          <p:cNvGrpSpPr/>
          <p:nvPr/>
        </p:nvGrpSpPr>
        <p:grpSpPr>
          <a:xfrm>
            <a:off x="5868559" y="4459977"/>
            <a:ext cx="635995" cy="544824"/>
            <a:chOff x="6861291" y="633595"/>
            <a:chExt cx="555224" cy="452826"/>
          </a:xfrm>
        </p:grpSpPr>
        <p:grpSp>
          <p:nvGrpSpPr>
            <p:cNvPr id="61" name="Group 60">
              <a:extLst>
                <a:ext uri="{FF2B5EF4-FFF2-40B4-BE49-F238E27FC236}">
                  <a16:creationId xmlns:a16="http://schemas.microsoft.com/office/drawing/2014/main" id="{C8423918-AB31-4996-AFF0-D351BC5926F5}"/>
                </a:ext>
              </a:extLst>
            </p:cNvPr>
            <p:cNvGrpSpPr/>
            <p:nvPr/>
          </p:nvGrpSpPr>
          <p:grpSpPr>
            <a:xfrm>
              <a:off x="6861291" y="633595"/>
              <a:ext cx="283755" cy="312131"/>
              <a:chOff x="6861291" y="633595"/>
              <a:chExt cx="283755" cy="312131"/>
            </a:xfrm>
          </p:grpSpPr>
          <p:sp>
            <p:nvSpPr>
              <p:cNvPr id="68" name="Freeform: Shape 67">
                <a:extLst>
                  <a:ext uri="{FF2B5EF4-FFF2-40B4-BE49-F238E27FC236}">
                    <a16:creationId xmlns:a16="http://schemas.microsoft.com/office/drawing/2014/main" id="{0480CC2C-539C-4B97-9E86-7232C510FAD0}"/>
                  </a:ext>
                </a:extLst>
              </p:cNvPr>
              <p:cNvSpPr/>
              <p:nvPr/>
            </p:nvSpPr>
            <p:spPr>
              <a:xfrm>
                <a:off x="6861291" y="780202"/>
                <a:ext cx="283755" cy="165524"/>
              </a:xfrm>
              <a:custGeom>
                <a:avLst/>
                <a:gdLst>
                  <a:gd name="connsiteX0" fmla="*/ 7144 w 228600"/>
                  <a:gd name="connsiteY0" fmla="*/ 130016 h 133350"/>
                  <a:gd name="connsiteX1" fmla="*/ 16669 w 228600"/>
                  <a:gd name="connsiteY1" fmla="*/ 54769 h 133350"/>
                  <a:gd name="connsiteX2" fmla="*/ 39529 w 228600"/>
                  <a:gd name="connsiteY2" fmla="*/ 17621 h 133350"/>
                  <a:gd name="connsiteX3" fmla="*/ 66199 w 228600"/>
                  <a:gd name="connsiteY3" fmla="*/ 7144 h 133350"/>
                  <a:gd name="connsiteX4" fmla="*/ 76676 w 228600"/>
                  <a:gd name="connsiteY4" fmla="*/ 11906 h 133350"/>
                  <a:gd name="connsiteX5" fmla="*/ 78581 w 228600"/>
                  <a:gd name="connsiteY5" fmla="*/ 13811 h 133350"/>
                  <a:gd name="connsiteX6" fmla="*/ 119539 w 228600"/>
                  <a:gd name="connsiteY6" fmla="*/ 29051 h 133350"/>
                  <a:gd name="connsiteX7" fmla="*/ 160496 w 228600"/>
                  <a:gd name="connsiteY7" fmla="*/ 13811 h 133350"/>
                  <a:gd name="connsiteX8" fmla="*/ 160496 w 228600"/>
                  <a:gd name="connsiteY8" fmla="*/ 11906 h 133350"/>
                  <a:gd name="connsiteX9" fmla="*/ 170974 w 228600"/>
                  <a:gd name="connsiteY9" fmla="*/ 7144 h 133350"/>
                  <a:gd name="connsiteX10" fmla="*/ 197644 w 228600"/>
                  <a:gd name="connsiteY10" fmla="*/ 17621 h 133350"/>
                  <a:gd name="connsiteX11" fmla="*/ 220504 w 228600"/>
                  <a:gd name="connsiteY11" fmla="*/ 54769 h 133350"/>
                  <a:gd name="connsiteX12" fmla="*/ 230029 w 228600"/>
                  <a:gd name="connsiteY12" fmla="*/ 130016 h 133350"/>
                  <a:gd name="connsiteX13" fmla="*/ 7144 w 228600"/>
                  <a:gd name="connsiteY13" fmla="*/ 130016 h 133350"/>
                  <a:gd name="connsiteX14" fmla="*/ 7144 w 228600"/>
                  <a:gd name="connsiteY14" fmla="*/ 130016 h 133350"/>
                  <a:gd name="connsiteX15" fmla="*/ 7144 w 228600"/>
                  <a:gd name="connsiteY15" fmla="*/ 130016 h 133350"/>
                  <a:gd name="connsiteX16" fmla="*/ 7144 w 228600"/>
                  <a:gd name="connsiteY16" fmla="*/ 1300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600" h="133350">
                    <a:moveTo>
                      <a:pt x="7144" y="130016"/>
                    </a:moveTo>
                    <a:cubicBezTo>
                      <a:pt x="9049" y="110966"/>
                      <a:pt x="12859" y="71914"/>
                      <a:pt x="16669" y="54769"/>
                    </a:cubicBezTo>
                    <a:cubicBezTo>
                      <a:pt x="21431" y="35719"/>
                      <a:pt x="25241" y="24289"/>
                      <a:pt x="39529" y="17621"/>
                    </a:cubicBezTo>
                    <a:cubicBezTo>
                      <a:pt x="53816" y="10001"/>
                      <a:pt x="61436" y="7144"/>
                      <a:pt x="66199" y="7144"/>
                    </a:cubicBezTo>
                    <a:cubicBezTo>
                      <a:pt x="70961" y="7144"/>
                      <a:pt x="73819" y="9049"/>
                      <a:pt x="76676" y="11906"/>
                    </a:cubicBezTo>
                    <a:cubicBezTo>
                      <a:pt x="77629" y="11906"/>
                      <a:pt x="77629" y="12859"/>
                      <a:pt x="78581" y="13811"/>
                    </a:cubicBezTo>
                    <a:cubicBezTo>
                      <a:pt x="91916" y="26194"/>
                      <a:pt x="106204" y="29051"/>
                      <a:pt x="119539" y="29051"/>
                    </a:cubicBezTo>
                    <a:cubicBezTo>
                      <a:pt x="132874" y="29051"/>
                      <a:pt x="147161" y="26194"/>
                      <a:pt x="160496" y="13811"/>
                    </a:cubicBezTo>
                    <a:cubicBezTo>
                      <a:pt x="159544" y="12859"/>
                      <a:pt x="159544" y="12859"/>
                      <a:pt x="160496" y="11906"/>
                    </a:cubicBezTo>
                    <a:cubicBezTo>
                      <a:pt x="163354" y="9049"/>
                      <a:pt x="166211" y="7144"/>
                      <a:pt x="170974" y="7144"/>
                    </a:cubicBezTo>
                    <a:cubicBezTo>
                      <a:pt x="175736" y="7144"/>
                      <a:pt x="184309" y="10001"/>
                      <a:pt x="197644" y="17621"/>
                    </a:cubicBezTo>
                    <a:cubicBezTo>
                      <a:pt x="211931" y="25241"/>
                      <a:pt x="216694" y="35719"/>
                      <a:pt x="220504" y="54769"/>
                    </a:cubicBezTo>
                    <a:cubicBezTo>
                      <a:pt x="224314" y="71914"/>
                      <a:pt x="228124" y="110966"/>
                      <a:pt x="230029" y="130016"/>
                    </a:cubicBezTo>
                    <a:lnTo>
                      <a:pt x="7144" y="130016"/>
                    </a:lnTo>
                    <a:lnTo>
                      <a:pt x="7144" y="130016"/>
                    </a:lnTo>
                    <a:lnTo>
                      <a:pt x="7144" y="130016"/>
                    </a:lnTo>
                    <a:lnTo>
                      <a:pt x="7144" y="130016"/>
                    </a:lnTo>
                    <a:close/>
                  </a:path>
                </a:pathLst>
              </a:custGeom>
              <a:solidFill>
                <a:schemeClr val="accent3"/>
              </a:solidFill>
              <a:ln w="9525" cap="flat">
                <a:noFill/>
                <a:prstDash val="solid"/>
                <a:miter/>
              </a:ln>
            </p:spPr>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fr-fr" sz="1765" b="0" i="0" u="none" strike="noStrike" kern="0" cap="none" spc="0" normalizeH="0" baseline="0" noProof="0">
                  <a:ln>
                    <a:noFill/>
                  </a:ln>
                  <a:solidFill>
                    <a:srgbClr val="50505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58B1AEFE-C723-48C7-9DA7-B3BCB290B8BF}"/>
                  </a:ext>
                </a:extLst>
              </p:cNvPr>
              <p:cNvSpPr/>
              <p:nvPr/>
            </p:nvSpPr>
            <p:spPr>
              <a:xfrm>
                <a:off x="6931048" y="633595"/>
                <a:ext cx="153701" cy="153701"/>
              </a:xfrm>
              <a:custGeom>
                <a:avLst/>
                <a:gdLst>
                  <a:gd name="connsiteX0" fmla="*/ 62389 w 123825"/>
                  <a:gd name="connsiteY0" fmla="*/ 117634 h 123825"/>
                  <a:gd name="connsiteX1" fmla="*/ 7144 w 123825"/>
                  <a:gd name="connsiteY1" fmla="*/ 62389 h 123825"/>
                  <a:gd name="connsiteX2" fmla="*/ 62389 w 123825"/>
                  <a:gd name="connsiteY2" fmla="*/ 7144 h 123825"/>
                  <a:gd name="connsiteX3" fmla="*/ 117634 w 123825"/>
                  <a:gd name="connsiteY3" fmla="*/ 62389 h 123825"/>
                  <a:gd name="connsiteX4" fmla="*/ 62389 w 123825"/>
                  <a:gd name="connsiteY4" fmla="*/ 117634 h 123825"/>
                  <a:gd name="connsiteX5" fmla="*/ 62389 w 123825"/>
                  <a:gd name="connsiteY5" fmla="*/ 117634 h 123825"/>
                  <a:gd name="connsiteX6" fmla="*/ 62389 w 123825"/>
                  <a:gd name="connsiteY6" fmla="*/ 117634 h 123825"/>
                  <a:gd name="connsiteX7" fmla="*/ 62389 w 123825"/>
                  <a:gd name="connsiteY7" fmla="*/ 11763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123825">
                    <a:moveTo>
                      <a:pt x="62389" y="117634"/>
                    </a:moveTo>
                    <a:cubicBezTo>
                      <a:pt x="31909" y="117634"/>
                      <a:pt x="7144" y="92869"/>
                      <a:pt x="7144" y="62389"/>
                    </a:cubicBezTo>
                    <a:cubicBezTo>
                      <a:pt x="7144" y="31909"/>
                      <a:pt x="31909" y="7144"/>
                      <a:pt x="62389" y="7144"/>
                    </a:cubicBezTo>
                    <a:cubicBezTo>
                      <a:pt x="92869" y="7144"/>
                      <a:pt x="117634" y="31909"/>
                      <a:pt x="117634" y="62389"/>
                    </a:cubicBezTo>
                    <a:cubicBezTo>
                      <a:pt x="117634" y="92869"/>
                      <a:pt x="92869" y="117634"/>
                      <a:pt x="62389" y="117634"/>
                    </a:cubicBezTo>
                    <a:lnTo>
                      <a:pt x="62389" y="117634"/>
                    </a:lnTo>
                    <a:lnTo>
                      <a:pt x="62389" y="117634"/>
                    </a:lnTo>
                    <a:lnTo>
                      <a:pt x="62389" y="117634"/>
                    </a:lnTo>
                    <a:close/>
                  </a:path>
                </a:pathLst>
              </a:custGeom>
              <a:solidFill>
                <a:schemeClr val="accent3"/>
              </a:solidFill>
              <a:ln w="9525" cap="flat">
                <a:noFill/>
                <a:prstDash val="solid"/>
                <a:miter/>
              </a:ln>
            </p:spPr>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fr-fr"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CBF2D08C-9D09-48E8-B217-94CA801DB87F}"/>
                </a:ext>
              </a:extLst>
            </p:cNvPr>
            <p:cNvGrpSpPr/>
            <p:nvPr/>
          </p:nvGrpSpPr>
          <p:grpSpPr>
            <a:xfrm>
              <a:off x="7203699" y="838874"/>
              <a:ext cx="212816" cy="212816"/>
              <a:chOff x="7203699" y="838874"/>
              <a:chExt cx="212816" cy="212816"/>
            </a:xfrm>
          </p:grpSpPr>
          <p:sp>
            <p:nvSpPr>
              <p:cNvPr id="66" name="Freeform: Shape 65">
                <a:extLst>
                  <a:ext uri="{FF2B5EF4-FFF2-40B4-BE49-F238E27FC236}">
                    <a16:creationId xmlns:a16="http://schemas.microsoft.com/office/drawing/2014/main" id="{E98B5341-0479-4114-9DCD-B9AFC83D6E93}"/>
                  </a:ext>
                </a:extLst>
              </p:cNvPr>
              <p:cNvSpPr/>
              <p:nvPr/>
            </p:nvSpPr>
            <p:spPr>
              <a:xfrm>
                <a:off x="7203699" y="838874"/>
                <a:ext cx="212816" cy="212816"/>
              </a:xfrm>
              <a:custGeom>
                <a:avLst/>
                <a:gdLst>
                  <a:gd name="connsiteX0" fmla="*/ 163727 w 171450"/>
                  <a:gd name="connsiteY0" fmla="*/ 107513 h 171450"/>
                  <a:gd name="connsiteX1" fmla="*/ 150392 w 171450"/>
                  <a:gd name="connsiteY1" fmla="*/ 101798 h 171450"/>
                  <a:gd name="connsiteX2" fmla="*/ 146582 w 171450"/>
                  <a:gd name="connsiteY2" fmla="*/ 98941 h 171450"/>
                  <a:gd name="connsiteX3" fmla="*/ 147535 w 171450"/>
                  <a:gd name="connsiteY3" fmla="*/ 94178 h 171450"/>
                  <a:gd name="connsiteX4" fmla="*/ 147535 w 171450"/>
                  <a:gd name="connsiteY4" fmla="*/ 83701 h 171450"/>
                  <a:gd name="connsiteX5" fmla="*/ 146582 w 171450"/>
                  <a:gd name="connsiteY5" fmla="*/ 78938 h 171450"/>
                  <a:gd name="connsiteX6" fmla="*/ 150392 w 171450"/>
                  <a:gd name="connsiteY6" fmla="*/ 76081 h 171450"/>
                  <a:gd name="connsiteX7" fmla="*/ 163727 w 171450"/>
                  <a:gd name="connsiteY7" fmla="*/ 70366 h 171450"/>
                  <a:gd name="connsiteX8" fmla="*/ 166585 w 171450"/>
                  <a:gd name="connsiteY8" fmla="*/ 64651 h 171450"/>
                  <a:gd name="connsiteX9" fmla="*/ 159917 w 171450"/>
                  <a:gd name="connsiteY9" fmla="*/ 50363 h 171450"/>
                  <a:gd name="connsiteX10" fmla="*/ 154202 w 171450"/>
                  <a:gd name="connsiteY10" fmla="*/ 47506 h 171450"/>
                  <a:gd name="connsiteX11" fmla="*/ 140867 w 171450"/>
                  <a:gd name="connsiteY11" fmla="*/ 53221 h 171450"/>
                  <a:gd name="connsiteX12" fmla="*/ 136105 w 171450"/>
                  <a:gd name="connsiteY12" fmla="*/ 54173 h 171450"/>
                  <a:gd name="connsiteX13" fmla="*/ 132295 w 171450"/>
                  <a:gd name="connsiteY13" fmla="*/ 50363 h 171450"/>
                  <a:gd name="connsiteX14" fmla="*/ 125627 w 171450"/>
                  <a:gd name="connsiteY14" fmla="*/ 41791 h 171450"/>
                  <a:gd name="connsiteX15" fmla="*/ 121817 w 171450"/>
                  <a:gd name="connsiteY15" fmla="*/ 37981 h 171450"/>
                  <a:gd name="connsiteX16" fmla="*/ 122770 w 171450"/>
                  <a:gd name="connsiteY16" fmla="*/ 33218 h 171450"/>
                  <a:gd name="connsiteX17" fmla="*/ 128485 w 171450"/>
                  <a:gd name="connsiteY17" fmla="*/ 19883 h 171450"/>
                  <a:gd name="connsiteX18" fmla="*/ 125627 w 171450"/>
                  <a:gd name="connsiteY18" fmla="*/ 14168 h 171450"/>
                  <a:gd name="connsiteX19" fmla="*/ 110387 w 171450"/>
                  <a:gd name="connsiteY19" fmla="*/ 7501 h 171450"/>
                  <a:gd name="connsiteX20" fmla="*/ 104672 w 171450"/>
                  <a:gd name="connsiteY20" fmla="*/ 10358 h 171450"/>
                  <a:gd name="connsiteX21" fmla="*/ 98957 w 171450"/>
                  <a:gd name="connsiteY21" fmla="*/ 23693 h 171450"/>
                  <a:gd name="connsiteX22" fmla="*/ 96100 w 171450"/>
                  <a:gd name="connsiteY22" fmla="*/ 27503 h 171450"/>
                  <a:gd name="connsiteX23" fmla="*/ 91337 w 171450"/>
                  <a:gd name="connsiteY23" fmla="*/ 26551 h 171450"/>
                  <a:gd name="connsiteX24" fmla="*/ 85622 w 171450"/>
                  <a:gd name="connsiteY24" fmla="*/ 25598 h 171450"/>
                  <a:gd name="connsiteX25" fmla="*/ 79907 w 171450"/>
                  <a:gd name="connsiteY25" fmla="*/ 26551 h 171450"/>
                  <a:gd name="connsiteX26" fmla="*/ 75145 w 171450"/>
                  <a:gd name="connsiteY26" fmla="*/ 27503 h 171450"/>
                  <a:gd name="connsiteX27" fmla="*/ 72287 w 171450"/>
                  <a:gd name="connsiteY27" fmla="*/ 23693 h 171450"/>
                  <a:gd name="connsiteX28" fmla="*/ 66572 w 171450"/>
                  <a:gd name="connsiteY28" fmla="*/ 10358 h 171450"/>
                  <a:gd name="connsiteX29" fmla="*/ 60857 w 171450"/>
                  <a:gd name="connsiteY29" fmla="*/ 7501 h 171450"/>
                  <a:gd name="connsiteX30" fmla="*/ 45617 w 171450"/>
                  <a:gd name="connsiteY30" fmla="*/ 14168 h 171450"/>
                  <a:gd name="connsiteX31" fmla="*/ 42760 w 171450"/>
                  <a:gd name="connsiteY31" fmla="*/ 19883 h 171450"/>
                  <a:gd name="connsiteX32" fmla="*/ 48475 w 171450"/>
                  <a:gd name="connsiteY32" fmla="*/ 33218 h 171450"/>
                  <a:gd name="connsiteX33" fmla="*/ 49427 w 171450"/>
                  <a:gd name="connsiteY33" fmla="*/ 37981 h 171450"/>
                  <a:gd name="connsiteX34" fmla="*/ 45617 w 171450"/>
                  <a:gd name="connsiteY34" fmla="*/ 41791 h 171450"/>
                  <a:gd name="connsiteX35" fmla="*/ 37997 w 171450"/>
                  <a:gd name="connsiteY35" fmla="*/ 49411 h 171450"/>
                  <a:gd name="connsiteX36" fmla="*/ 34187 w 171450"/>
                  <a:gd name="connsiteY36" fmla="*/ 53221 h 171450"/>
                  <a:gd name="connsiteX37" fmla="*/ 29425 w 171450"/>
                  <a:gd name="connsiteY37" fmla="*/ 52268 h 171450"/>
                  <a:gd name="connsiteX38" fmla="*/ 16090 w 171450"/>
                  <a:gd name="connsiteY38" fmla="*/ 46553 h 171450"/>
                  <a:gd name="connsiteX39" fmla="*/ 10375 w 171450"/>
                  <a:gd name="connsiteY39" fmla="*/ 49411 h 171450"/>
                  <a:gd name="connsiteX40" fmla="*/ 7517 w 171450"/>
                  <a:gd name="connsiteY40" fmla="*/ 65603 h 171450"/>
                  <a:gd name="connsiteX41" fmla="*/ 10375 w 171450"/>
                  <a:gd name="connsiteY41" fmla="*/ 71318 h 171450"/>
                  <a:gd name="connsiteX42" fmla="*/ 23710 w 171450"/>
                  <a:gd name="connsiteY42" fmla="*/ 77033 h 171450"/>
                  <a:gd name="connsiteX43" fmla="*/ 27520 w 171450"/>
                  <a:gd name="connsiteY43" fmla="*/ 79891 h 171450"/>
                  <a:gd name="connsiteX44" fmla="*/ 26567 w 171450"/>
                  <a:gd name="connsiteY44" fmla="*/ 84653 h 171450"/>
                  <a:gd name="connsiteX45" fmla="*/ 26567 w 171450"/>
                  <a:gd name="connsiteY45" fmla="*/ 95131 h 171450"/>
                  <a:gd name="connsiteX46" fmla="*/ 26567 w 171450"/>
                  <a:gd name="connsiteY46" fmla="*/ 98941 h 171450"/>
                  <a:gd name="connsiteX47" fmla="*/ 22757 w 171450"/>
                  <a:gd name="connsiteY47" fmla="*/ 101798 h 171450"/>
                  <a:gd name="connsiteX48" fmla="*/ 9422 w 171450"/>
                  <a:gd name="connsiteY48" fmla="*/ 107513 h 171450"/>
                  <a:gd name="connsiteX49" fmla="*/ 7517 w 171450"/>
                  <a:gd name="connsiteY49" fmla="*/ 112276 h 171450"/>
                  <a:gd name="connsiteX50" fmla="*/ 14185 w 171450"/>
                  <a:gd name="connsiteY50" fmla="*/ 128468 h 171450"/>
                  <a:gd name="connsiteX51" fmla="*/ 19900 w 171450"/>
                  <a:gd name="connsiteY51" fmla="*/ 131326 h 171450"/>
                  <a:gd name="connsiteX52" fmla="*/ 33235 w 171450"/>
                  <a:gd name="connsiteY52" fmla="*/ 125611 h 171450"/>
                  <a:gd name="connsiteX53" fmla="*/ 37997 w 171450"/>
                  <a:gd name="connsiteY53" fmla="*/ 124658 h 171450"/>
                  <a:gd name="connsiteX54" fmla="*/ 41807 w 171450"/>
                  <a:gd name="connsiteY54" fmla="*/ 128468 h 171450"/>
                  <a:gd name="connsiteX55" fmla="*/ 49427 w 171450"/>
                  <a:gd name="connsiteY55" fmla="*/ 136088 h 171450"/>
                  <a:gd name="connsiteX56" fmla="*/ 53237 w 171450"/>
                  <a:gd name="connsiteY56" fmla="*/ 139898 h 171450"/>
                  <a:gd name="connsiteX57" fmla="*/ 52285 w 171450"/>
                  <a:gd name="connsiteY57" fmla="*/ 144661 h 171450"/>
                  <a:gd name="connsiteX58" fmla="*/ 45617 w 171450"/>
                  <a:gd name="connsiteY58" fmla="*/ 157996 h 171450"/>
                  <a:gd name="connsiteX59" fmla="*/ 48475 w 171450"/>
                  <a:gd name="connsiteY59" fmla="*/ 163711 h 171450"/>
                  <a:gd name="connsiteX60" fmla="*/ 63715 w 171450"/>
                  <a:gd name="connsiteY60" fmla="*/ 170378 h 171450"/>
                  <a:gd name="connsiteX61" fmla="*/ 69430 w 171450"/>
                  <a:gd name="connsiteY61" fmla="*/ 167521 h 171450"/>
                  <a:gd name="connsiteX62" fmla="*/ 75145 w 171450"/>
                  <a:gd name="connsiteY62" fmla="*/ 154186 h 171450"/>
                  <a:gd name="connsiteX63" fmla="*/ 78002 w 171450"/>
                  <a:gd name="connsiteY63" fmla="*/ 150376 h 171450"/>
                  <a:gd name="connsiteX64" fmla="*/ 82765 w 171450"/>
                  <a:gd name="connsiteY64" fmla="*/ 151328 h 171450"/>
                  <a:gd name="connsiteX65" fmla="*/ 88480 w 171450"/>
                  <a:gd name="connsiteY65" fmla="*/ 152281 h 171450"/>
                  <a:gd name="connsiteX66" fmla="*/ 94195 w 171450"/>
                  <a:gd name="connsiteY66" fmla="*/ 151328 h 171450"/>
                  <a:gd name="connsiteX67" fmla="*/ 98957 w 171450"/>
                  <a:gd name="connsiteY67" fmla="*/ 150376 h 171450"/>
                  <a:gd name="connsiteX68" fmla="*/ 101815 w 171450"/>
                  <a:gd name="connsiteY68" fmla="*/ 154186 h 171450"/>
                  <a:gd name="connsiteX69" fmla="*/ 107530 w 171450"/>
                  <a:gd name="connsiteY69" fmla="*/ 167521 h 171450"/>
                  <a:gd name="connsiteX70" fmla="*/ 113245 w 171450"/>
                  <a:gd name="connsiteY70" fmla="*/ 170378 h 171450"/>
                  <a:gd name="connsiteX71" fmla="*/ 128485 w 171450"/>
                  <a:gd name="connsiteY71" fmla="*/ 163711 h 171450"/>
                  <a:gd name="connsiteX72" fmla="*/ 131342 w 171450"/>
                  <a:gd name="connsiteY72" fmla="*/ 157996 h 171450"/>
                  <a:gd name="connsiteX73" fmla="*/ 125627 w 171450"/>
                  <a:gd name="connsiteY73" fmla="*/ 144661 h 171450"/>
                  <a:gd name="connsiteX74" fmla="*/ 121817 w 171450"/>
                  <a:gd name="connsiteY74" fmla="*/ 139898 h 171450"/>
                  <a:gd name="connsiteX75" fmla="*/ 125627 w 171450"/>
                  <a:gd name="connsiteY75" fmla="*/ 136088 h 171450"/>
                  <a:gd name="connsiteX76" fmla="*/ 133247 w 171450"/>
                  <a:gd name="connsiteY76" fmla="*/ 128468 h 171450"/>
                  <a:gd name="connsiteX77" fmla="*/ 137057 w 171450"/>
                  <a:gd name="connsiteY77" fmla="*/ 124658 h 171450"/>
                  <a:gd name="connsiteX78" fmla="*/ 141820 w 171450"/>
                  <a:gd name="connsiteY78" fmla="*/ 125611 h 171450"/>
                  <a:gd name="connsiteX79" fmla="*/ 155155 w 171450"/>
                  <a:gd name="connsiteY79" fmla="*/ 131326 h 171450"/>
                  <a:gd name="connsiteX80" fmla="*/ 160870 w 171450"/>
                  <a:gd name="connsiteY80" fmla="*/ 128468 h 171450"/>
                  <a:gd name="connsiteX81" fmla="*/ 167537 w 171450"/>
                  <a:gd name="connsiteY81" fmla="*/ 112276 h 171450"/>
                  <a:gd name="connsiteX82" fmla="*/ 163727 w 171450"/>
                  <a:gd name="connsiteY82" fmla="*/ 107513 h 171450"/>
                  <a:gd name="connsiteX83" fmla="*/ 163727 w 171450"/>
                  <a:gd name="connsiteY83" fmla="*/ 10751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1450" h="171450">
                    <a:moveTo>
                      <a:pt x="163727" y="107513"/>
                    </a:moveTo>
                    <a:lnTo>
                      <a:pt x="150392" y="101798"/>
                    </a:lnTo>
                    <a:cubicBezTo>
                      <a:pt x="148487" y="100846"/>
                      <a:pt x="146582" y="99893"/>
                      <a:pt x="146582" y="98941"/>
                    </a:cubicBezTo>
                    <a:cubicBezTo>
                      <a:pt x="146582" y="97988"/>
                      <a:pt x="147535" y="96083"/>
                      <a:pt x="147535" y="94178"/>
                    </a:cubicBezTo>
                    <a:lnTo>
                      <a:pt x="147535" y="83701"/>
                    </a:lnTo>
                    <a:cubicBezTo>
                      <a:pt x="147535" y="80843"/>
                      <a:pt x="146582" y="78938"/>
                      <a:pt x="146582" y="78938"/>
                    </a:cubicBezTo>
                    <a:cubicBezTo>
                      <a:pt x="146582" y="77986"/>
                      <a:pt x="148487" y="77033"/>
                      <a:pt x="150392" y="76081"/>
                    </a:cubicBezTo>
                    <a:lnTo>
                      <a:pt x="163727" y="70366"/>
                    </a:lnTo>
                    <a:cubicBezTo>
                      <a:pt x="165632" y="69413"/>
                      <a:pt x="167537" y="66556"/>
                      <a:pt x="166585" y="64651"/>
                    </a:cubicBezTo>
                    <a:lnTo>
                      <a:pt x="159917" y="50363"/>
                    </a:lnTo>
                    <a:cubicBezTo>
                      <a:pt x="158965" y="48458"/>
                      <a:pt x="156107" y="46553"/>
                      <a:pt x="154202" y="47506"/>
                    </a:cubicBezTo>
                    <a:lnTo>
                      <a:pt x="140867" y="53221"/>
                    </a:lnTo>
                    <a:cubicBezTo>
                      <a:pt x="138962" y="54173"/>
                      <a:pt x="137057" y="55126"/>
                      <a:pt x="136105" y="54173"/>
                    </a:cubicBezTo>
                    <a:cubicBezTo>
                      <a:pt x="135152" y="53221"/>
                      <a:pt x="134200" y="52268"/>
                      <a:pt x="132295" y="50363"/>
                    </a:cubicBezTo>
                    <a:lnTo>
                      <a:pt x="125627" y="41791"/>
                    </a:lnTo>
                    <a:cubicBezTo>
                      <a:pt x="123722" y="39886"/>
                      <a:pt x="121817" y="38933"/>
                      <a:pt x="121817" y="37981"/>
                    </a:cubicBezTo>
                    <a:cubicBezTo>
                      <a:pt x="120865" y="37028"/>
                      <a:pt x="121817" y="35123"/>
                      <a:pt x="122770" y="33218"/>
                    </a:cubicBezTo>
                    <a:lnTo>
                      <a:pt x="128485" y="19883"/>
                    </a:lnTo>
                    <a:cubicBezTo>
                      <a:pt x="129437" y="17978"/>
                      <a:pt x="128485" y="15121"/>
                      <a:pt x="125627" y="14168"/>
                    </a:cubicBezTo>
                    <a:lnTo>
                      <a:pt x="110387" y="7501"/>
                    </a:lnTo>
                    <a:cubicBezTo>
                      <a:pt x="108482" y="6548"/>
                      <a:pt x="105625" y="7501"/>
                      <a:pt x="104672" y="10358"/>
                    </a:cubicBezTo>
                    <a:lnTo>
                      <a:pt x="98957" y="23693"/>
                    </a:lnTo>
                    <a:cubicBezTo>
                      <a:pt x="98005" y="25598"/>
                      <a:pt x="97052" y="27503"/>
                      <a:pt x="96100" y="27503"/>
                    </a:cubicBezTo>
                    <a:cubicBezTo>
                      <a:pt x="95147" y="27503"/>
                      <a:pt x="93242" y="26551"/>
                      <a:pt x="91337" y="26551"/>
                    </a:cubicBezTo>
                    <a:cubicBezTo>
                      <a:pt x="91337" y="26551"/>
                      <a:pt x="88480" y="25598"/>
                      <a:pt x="85622" y="25598"/>
                    </a:cubicBezTo>
                    <a:cubicBezTo>
                      <a:pt x="82765" y="25598"/>
                      <a:pt x="79907" y="26551"/>
                      <a:pt x="79907" y="26551"/>
                    </a:cubicBezTo>
                    <a:cubicBezTo>
                      <a:pt x="77050" y="27503"/>
                      <a:pt x="75145" y="27503"/>
                      <a:pt x="75145" y="27503"/>
                    </a:cubicBezTo>
                    <a:cubicBezTo>
                      <a:pt x="74192" y="27503"/>
                      <a:pt x="73240" y="25598"/>
                      <a:pt x="72287" y="23693"/>
                    </a:cubicBezTo>
                    <a:lnTo>
                      <a:pt x="66572" y="10358"/>
                    </a:lnTo>
                    <a:cubicBezTo>
                      <a:pt x="65620" y="8453"/>
                      <a:pt x="62762" y="6548"/>
                      <a:pt x="60857" y="7501"/>
                    </a:cubicBezTo>
                    <a:lnTo>
                      <a:pt x="45617" y="14168"/>
                    </a:lnTo>
                    <a:cubicBezTo>
                      <a:pt x="43712" y="15121"/>
                      <a:pt x="41807" y="17978"/>
                      <a:pt x="42760" y="19883"/>
                    </a:cubicBezTo>
                    <a:lnTo>
                      <a:pt x="48475" y="33218"/>
                    </a:lnTo>
                    <a:cubicBezTo>
                      <a:pt x="49427" y="35123"/>
                      <a:pt x="50380" y="37028"/>
                      <a:pt x="49427" y="37981"/>
                    </a:cubicBezTo>
                    <a:cubicBezTo>
                      <a:pt x="48475" y="38933"/>
                      <a:pt x="47522" y="39886"/>
                      <a:pt x="45617" y="41791"/>
                    </a:cubicBezTo>
                    <a:lnTo>
                      <a:pt x="37997" y="49411"/>
                    </a:lnTo>
                    <a:cubicBezTo>
                      <a:pt x="36092" y="51316"/>
                      <a:pt x="35140" y="53221"/>
                      <a:pt x="34187" y="53221"/>
                    </a:cubicBezTo>
                    <a:cubicBezTo>
                      <a:pt x="33235" y="54173"/>
                      <a:pt x="31330" y="53221"/>
                      <a:pt x="29425" y="52268"/>
                    </a:cubicBezTo>
                    <a:lnTo>
                      <a:pt x="16090" y="46553"/>
                    </a:lnTo>
                    <a:cubicBezTo>
                      <a:pt x="14185" y="45601"/>
                      <a:pt x="11327" y="46553"/>
                      <a:pt x="10375" y="49411"/>
                    </a:cubicBezTo>
                    <a:lnTo>
                      <a:pt x="7517" y="65603"/>
                    </a:lnTo>
                    <a:cubicBezTo>
                      <a:pt x="6565" y="67508"/>
                      <a:pt x="7517" y="70366"/>
                      <a:pt x="10375" y="71318"/>
                    </a:cubicBezTo>
                    <a:lnTo>
                      <a:pt x="23710" y="77033"/>
                    </a:lnTo>
                    <a:cubicBezTo>
                      <a:pt x="25615" y="77986"/>
                      <a:pt x="27520" y="78938"/>
                      <a:pt x="27520" y="79891"/>
                    </a:cubicBezTo>
                    <a:cubicBezTo>
                      <a:pt x="27520" y="80843"/>
                      <a:pt x="26567" y="82748"/>
                      <a:pt x="26567" y="84653"/>
                    </a:cubicBezTo>
                    <a:lnTo>
                      <a:pt x="26567" y="95131"/>
                    </a:lnTo>
                    <a:cubicBezTo>
                      <a:pt x="26567" y="97036"/>
                      <a:pt x="26567" y="98941"/>
                      <a:pt x="26567" y="98941"/>
                    </a:cubicBezTo>
                    <a:cubicBezTo>
                      <a:pt x="26567" y="99893"/>
                      <a:pt x="24662" y="100846"/>
                      <a:pt x="22757" y="101798"/>
                    </a:cubicBezTo>
                    <a:lnTo>
                      <a:pt x="9422" y="107513"/>
                    </a:lnTo>
                    <a:cubicBezTo>
                      <a:pt x="7517" y="108466"/>
                      <a:pt x="6565" y="110371"/>
                      <a:pt x="7517" y="112276"/>
                    </a:cubicBezTo>
                    <a:lnTo>
                      <a:pt x="14185" y="128468"/>
                    </a:lnTo>
                    <a:cubicBezTo>
                      <a:pt x="15137" y="130373"/>
                      <a:pt x="17995" y="132278"/>
                      <a:pt x="19900" y="131326"/>
                    </a:cubicBezTo>
                    <a:lnTo>
                      <a:pt x="33235" y="125611"/>
                    </a:lnTo>
                    <a:cubicBezTo>
                      <a:pt x="35140" y="124658"/>
                      <a:pt x="37045" y="123706"/>
                      <a:pt x="37997" y="124658"/>
                    </a:cubicBezTo>
                    <a:cubicBezTo>
                      <a:pt x="38950" y="125611"/>
                      <a:pt x="39902" y="126563"/>
                      <a:pt x="41807" y="128468"/>
                    </a:cubicBezTo>
                    <a:lnTo>
                      <a:pt x="49427" y="136088"/>
                    </a:lnTo>
                    <a:cubicBezTo>
                      <a:pt x="51332" y="137993"/>
                      <a:pt x="53237" y="138946"/>
                      <a:pt x="53237" y="139898"/>
                    </a:cubicBezTo>
                    <a:cubicBezTo>
                      <a:pt x="54190" y="140851"/>
                      <a:pt x="53237" y="142756"/>
                      <a:pt x="52285" y="144661"/>
                    </a:cubicBezTo>
                    <a:lnTo>
                      <a:pt x="45617" y="157996"/>
                    </a:lnTo>
                    <a:cubicBezTo>
                      <a:pt x="44665" y="159901"/>
                      <a:pt x="45617" y="162758"/>
                      <a:pt x="48475" y="163711"/>
                    </a:cubicBezTo>
                    <a:lnTo>
                      <a:pt x="63715" y="170378"/>
                    </a:lnTo>
                    <a:cubicBezTo>
                      <a:pt x="65620" y="171331"/>
                      <a:pt x="68477" y="170378"/>
                      <a:pt x="69430" y="167521"/>
                    </a:cubicBezTo>
                    <a:lnTo>
                      <a:pt x="75145" y="154186"/>
                    </a:lnTo>
                    <a:cubicBezTo>
                      <a:pt x="76097" y="152281"/>
                      <a:pt x="77050" y="150376"/>
                      <a:pt x="78002" y="150376"/>
                    </a:cubicBezTo>
                    <a:cubicBezTo>
                      <a:pt x="78955" y="150376"/>
                      <a:pt x="80860" y="151328"/>
                      <a:pt x="82765" y="151328"/>
                    </a:cubicBezTo>
                    <a:cubicBezTo>
                      <a:pt x="82765" y="151328"/>
                      <a:pt x="85622" y="152281"/>
                      <a:pt x="88480" y="152281"/>
                    </a:cubicBezTo>
                    <a:cubicBezTo>
                      <a:pt x="91337" y="152281"/>
                      <a:pt x="94195" y="151328"/>
                      <a:pt x="94195" y="151328"/>
                    </a:cubicBezTo>
                    <a:cubicBezTo>
                      <a:pt x="97052" y="150376"/>
                      <a:pt x="98957" y="150376"/>
                      <a:pt x="98957" y="150376"/>
                    </a:cubicBezTo>
                    <a:cubicBezTo>
                      <a:pt x="99910" y="150376"/>
                      <a:pt x="100862" y="152281"/>
                      <a:pt x="101815" y="154186"/>
                    </a:cubicBezTo>
                    <a:lnTo>
                      <a:pt x="107530" y="167521"/>
                    </a:lnTo>
                    <a:cubicBezTo>
                      <a:pt x="108482" y="169426"/>
                      <a:pt x="111340" y="171331"/>
                      <a:pt x="113245" y="170378"/>
                    </a:cubicBezTo>
                    <a:lnTo>
                      <a:pt x="128485" y="163711"/>
                    </a:lnTo>
                    <a:cubicBezTo>
                      <a:pt x="130390" y="162758"/>
                      <a:pt x="132295" y="159901"/>
                      <a:pt x="131342" y="157996"/>
                    </a:cubicBezTo>
                    <a:lnTo>
                      <a:pt x="125627" y="144661"/>
                    </a:lnTo>
                    <a:cubicBezTo>
                      <a:pt x="121817" y="141803"/>
                      <a:pt x="121817" y="139898"/>
                      <a:pt x="121817" y="139898"/>
                    </a:cubicBezTo>
                    <a:cubicBezTo>
                      <a:pt x="122770" y="138946"/>
                      <a:pt x="123722" y="137993"/>
                      <a:pt x="125627" y="136088"/>
                    </a:cubicBezTo>
                    <a:lnTo>
                      <a:pt x="133247" y="128468"/>
                    </a:lnTo>
                    <a:cubicBezTo>
                      <a:pt x="135152" y="126563"/>
                      <a:pt x="136105" y="124658"/>
                      <a:pt x="137057" y="124658"/>
                    </a:cubicBezTo>
                    <a:cubicBezTo>
                      <a:pt x="138010" y="123706"/>
                      <a:pt x="139915" y="124658"/>
                      <a:pt x="141820" y="125611"/>
                    </a:cubicBezTo>
                    <a:lnTo>
                      <a:pt x="155155" y="131326"/>
                    </a:lnTo>
                    <a:cubicBezTo>
                      <a:pt x="157060" y="132278"/>
                      <a:pt x="159917" y="131326"/>
                      <a:pt x="160870" y="128468"/>
                    </a:cubicBezTo>
                    <a:lnTo>
                      <a:pt x="167537" y="112276"/>
                    </a:lnTo>
                    <a:cubicBezTo>
                      <a:pt x="166585" y="111323"/>
                      <a:pt x="165632" y="108466"/>
                      <a:pt x="163727" y="107513"/>
                    </a:cubicBezTo>
                    <a:lnTo>
                      <a:pt x="163727" y="107513"/>
                    </a:lnTo>
                    <a:close/>
                  </a:path>
                </a:pathLst>
              </a:custGeom>
              <a:solidFill>
                <a:srgbClr val="30E5D0"/>
              </a:solidFill>
              <a:ln w="9525" cap="flat">
                <a:noFill/>
                <a:prstDash val="solid"/>
                <a:miter/>
              </a:ln>
            </p:spPr>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fr-fr" sz="1765" b="0" i="0" u="none" strike="noStrike" kern="0" cap="none" spc="0" normalizeH="0" baseline="0" noProof="0">
                  <a:ln>
                    <a:noFill/>
                  </a:ln>
                  <a:solidFill>
                    <a:srgbClr val="50505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4452B62B-BDA2-431D-A7DC-D73D9AA39809}"/>
                  </a:ext>
                </a:extLst>
              </p:cNvPr>
              <p:cNvSpPr/>
              <p:nvPr/>
            </p:nvSpPr>
            <p:spPr>
              <a:xfrm>
                <a:off x="7250992" y="886167"/>
                <a:ext cx="118231" cy="118231"/>
              </a:xfrm>
              <a:custGeom>
                <a:avLst/>
                <a:gdLst>
                  <a:gd name="connsiteX0" fmla="*/ 50006 w 95250"/>
                  <a:gd name="connsiteY0" fmla="*/ 92869 h 95250"/>
                  <a:gd name="connsiteX1" fmla="*/ 7144 w 95250"/>
                  <a:gd name="connsiteY1" fmla="*/ 50006 h 95250"/>
                  <a:gd name="connsiteX2" fmla="*/ 50006 w 95250"/>
                  <a:gd name="connsiteY2" fmla="*/ 7144 h 95250"/>
                  <a:gd name="connsiteX3" fmla="*/ 92869 w 95250"/>
                  <a:gd name="connsiteY3" fmla="*/ 50006 h 95250"/>
                  <a:gd name="connsiteX4" fmla="*/ 50006 w 95250"/>
                  <a:gd name="connsiteY4" fmla="*/ 92869 h 95250"/>
                  <a:gd name="connsiteX5" fmla="*/ 50006 w 95250"/>
                  <a:gd name="connsiteY5" fmla="*/ 928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95250">
                    <a:moveTo>
                      <a:pt x="50006" y="92869"/>
                    </a:moveTo>
                    <a:cubicBezTo>
                      <a:pt x="26194" y="92869"/>
                      <a:pt x="7144" y="73819"/>
                      <a:pt x="7144" y="50006"/>
                    </a:cubicBezTo>
                    <a:cubicBezTo>
                      <a:pt x="7144" y="26194"/>
                      <a:pt x="26194" y="7144"/>
                      <a:pt x="50006" y="7144"/>
                    </a:cubicBezTo>
                    <a:cubicBezTo>
                      <a:pt x="73819" y="7144"/>
                      <a:pt x="92869" y="26194"/>
                      <a:pt x="92869" y="50006"/>
                    </a:cubicBezTo>
                    <a:cubicBezTo>
                      <a:pt x="92869" y="73819"/>
                      <a:pt x="72866" y="92869"/>
                      <a:pt x="50006" y="92869"/>
                    </a:cubicBezTo>
                    <a:lnTo>
                      <a:pt x="50006" y="92869"/>
                    </a:lnTo>
                    <a:close/>
                  </a:path>
                </a:pathLst>
              </a:custGeom>
              <a:solidFill>
                <a:srgbClr val="3C3C41"/>
              </a:solidFill>
              <a:ln w="9525" cap="flat">
                <a:noFill/>
                <a:prstDash val="solid"/>
                <a:miter/>
              </a:ln>
            </p:spPr>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fr-fr"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3" name="Group 62">
              <a:extLst>
                <a:ext uri="{FF2B5EF4-FFF2-40B4-BE49-F238E27FC236}">
                  <a16:creationId xmlns:a16="http://schemas.microsoft.com/office/drawing/2014/main" id="{0DBEBA43-1918-4198-AFF4-5949AB496979}"/>
                </a:ext>
              </a:extLst>
            </p:cNvPr>
            <p:cNvGrpSpPr/>
            <p:nvPr/>
          </p:nvGrpSpPr>
          <p:grpSpPr>
            <a:xfrm>
              <a:off x="7016175" y="699804"/>
              <a:ext cx="313311" cy="386617"/>
              <a:chOff x="7016175" y="699804"/>
              <a:chExt cx="313311" cy="386617"/>
            </a:xfrm>
          </p:grpSpPr>
          <p:sp>
            <p:nvSpPr>
              <p:cNvPr id="64" name="Freeform: Shape 63">
                <a:extLst>
                  <a:ext uri="{FF2B5EF4-FFF2-40B4-BE49-F238E27FC236}">
                    <a16:creationId xmlns:a16="http://schemas.microsoft.com/office/drawing/2014/main" id="{05D78CC5-9EB2-4F01-BBCF-78EF28878074}"/>
                  </a:ext>
                </a:extLst>
              </p:cNvPr>
              <p:cNvSpPr/>
              <p:nvPr/>
            </p:nvSpPr>
            <p:spPr>
              <a:xfrm>
                <a:off x="7104847" y="699804"/>
                <a:ext cx="224639" cy="118231"/>
              </a:xfrm>
              <a:custGeom>
                <a:avLst/>
                <a:gdLst>
                  <a:gd name="connsiteX0" fmla="*/ 173831 w 180975"/>
                  <a:gd name="connsiteY0" fmla="*/ 83344 h 95250"/>
                  <a:gd name="connsiteX1" fmla="*/ 41434 w 180975"/>
                  <a:gd name="connsiteY1" fmla="*/ 21431 h 95250"/>
                  <a:gd name="connsiteX2" fmla="*/ 35719 w 180975"/>
                  <a:gd name="connsiteY2" fmla="*/ 7144 h 95250"/>
                  <a:gd name="connsiteX3" fmla="*/ 7144 w 180975"/>
                  <a:gd name="connsiteY3" fmla="*/ 41434 h 95250"/>
                  <a:gd name="connsiteX4" fmla="*/ 51911 w 180975"/>
                  <a:gd name="connsiteY4" fmla="*/ 49054 h 95250"/>
                  <a:gd name="connsiteX5" fmla="*/ 47149 w 180975"/>
                  <a:gd name="connsiteY5" fmla="*/ 35719 h 95250"/>
                  <a:gd name="connsiteX6" fmla="*/ 160496 w 180975"/>
                  <a:gd name="connsiteY6" fmla="*/ 90964 h 95250"/>
                  <a:gd name="connsiteX7" fmla="*/ 162401 w 180975"/>
                  <a:gd name="connsiteY7" fmla="*/ 93821 h 95250"/>
                  <a:gd name="connsiteX8" fmla="*/ 175736 w 180975"/>
                  <a:gd name="connsiteY8" fmla="*/ 87154 h 95250"/>
                  <a:gd name="connsiteX9" fmla="*/ 173831 w 180975"/>
                  <a:gd name="connsiteY9" fmla="*/ 833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95250">
                    <a:moveTo>
                      <a:pt x="173831" y="83344"/>
                    </a:moveTo>
                    <a:cubicBezTo>
                      <a:pt x="149066" y="35719"/>
                      <a:pt x="94774" y="10001"/>
                      <a:pt x="41434" y="21431"/>
                    </a:cubicBezTo>
                    <a:lnTo>
                      <a:pt x="35719" y="7144"/>
                    </a:lnTo>
                    <a:lnTo>
                      <a:pt x="7144" y="41434"/>
                    </a:lnTo>
                    <a:lnTo>
                      <a:pt x="51911" y="49054"/>
                    </a:lnTo>
                    <a:lnTo>
                      <a:pt x="47149" y="35719"/>
                    </a:lnTo>
                    <a:cubicBezTo>
                      <a:pt x="92869" y="27146"/>
                      <a:pt x="139541" y="49054"/>
                      <a:pt x="160496" y="90964"/>
                    </a:cubicBezTo>
                    <a:lnTo>
                      <a:pt x="162401" y="93821"/>
                    </a:lnTo>
                    <a:lnTo>
                      <a:pt x="175736" y="87154"/>
                    </a:lnTo>
                    <a:lnTo>
                      <a:pt x="173831" y="83344"/>
                    </a:lnTo>
                    <a:close/>
                  </a:path>
                </a:pathLst>
              </a:custGeom>
              <a:solidFill>
                <a:schemeClr val="accent5"/>
              </a:solidFill>
              <a:ln w="9525" cap="flat">
                <a:noFill/>
                <a:prstDash val="solid"/>
                <a:miter/>
              </a:ln>
            </p:spPr>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fr-fr" sz="1765" b="0" i="0" u="none" strike="noStrike" kern="0" cap="none" spc="0" normalizeH="0" baseline="0" noProof="0">
                  <a:ln>
                    <a:noFill/>
                  </a:ln>
                  <a:solidFill>
                    <a:srgbClr val="50505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1CD27352-2C2B-4FFA-B241-23C42E1128B9}"/>
                  </a:ext>
                </a:extLst>
              </p:cNvPr>
              <p:cNvSpPr/>
              <p:nvPr/>
            </p:nvSpPr>
            <p:spPr>
              <a:xfrm>
                <a:off x="7016175" y="944544"/>
                <a:ext cx="212816" cy="141877"/>
              </a:xfrm>
              <a:custGeom>
                <a:avLst/>
                <a:gdLst>
                  <a:gd name="connsiteX0" fmla="*/ 127159 w 171450"/>
                  <a:gd name="connsiteY0" fmla="*/ 80486 h 114300"/>
                  <a:gd name="connsiteX1" fmla="*/ 22384 w 171450"/>
                  <a:gd name="connsiteY1" fmla="*/ 10001 h 114300"/>
                  <a:gd name="connsiteX2" fmla="*/ 21431 w 171450"/>
                  <a:gd name="connsiteY2" fmla="*/ 7144 h 114300"/>
                  <a:gd name="connsiteX3" fmla="*/ 7144 w 171450"/>
                  <a:gd name="connsiteY3" fmla="*/ 11906 h 114300"/>
                  <a:gd name="connsiteX4" fmla="*/ 8096 w 171450"/>
                  <a:gd name="connsiteY4" fmla="*/ 14764 h 114300"/>
                  <a:gd name="connsiteX5" fmla="*/ 122396 w 171450"/>
                  <a:gd name="connsiteY5" fmla="*/ 95726 h 114300"/>
                  <a:gd name="connsiteX6" fmla="*/ 130016 w 171450"/>
                  <a:gd name="connsiteY6" fmla="*/ 95726 h 114300"/>
                  <a:gd name="connsiteX7" fmla="*/ 132874 w 171450"/>
                  <a:gd name="connsiteY7" fmla="*/ 110966 h 114300"/>
                  <a:gd name="connsiteX8" fmla="*/ 166211 w 171450"/>
                  <a:gd name="connsiteY8" fmla="*/ 80486 h 114300"/>
                  <a:gd name="connsiteX9" fmla="*/ 123349 w 171450"/>
                  <a:gd name="connsiteY9" fmla="*/ 66199 h 114300"/>
                  <a:gd name="connsiteX10" fmla="*/ 127159 w 171450"/>
                  <a:gd name="connsiteY10" fmla="*/ 8048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14300">
                    <a:moveTo>
                      <a:pt x="127159" y="80486"/>
                    </a:moveTo>
                    <a:cubicBezTo>
                      <a:pt x="80486" y="82391"/>
                      <a:pt x="37624" y="53816"/>
                      <a:pt x="22384" y="10001"/>
                    </a:cubicBezTo>
                    <a:lnTo>
                      <a:pt x="21431" y="7144"/>
                    </a:lnTo>
                    <a:lnTo>
                      <a:pt x="7144" y="11906"/>
                    </a:lnTo>
                    <a:lnTo>
                      <a:pt x="8096" y="14764"/>
                    </a:lnTo>
                    <a:cubicBezTo>
                      <a:pt x="25241" y="63341"/>
                      <a:pt x="70961" y="95726"/>
                      <a:pt x="122396" y="95726"/>
                    </a:cubicBezTo>
                    <a:cubicBezTo>
                      <a:pt x="125254" y="95726"/>
                      <a:pt x="127159" y="95726"/>
                      <a:pt x="130016" y="95726"/>
                    </a:cubicBezTo>
                    <a:lnTo>
                      <a:pt x="132874" y="110966"/>
                    </a:lnTo>
                    <a:lnTo>
                      <a:pt x="166211" y="80486"/>
                    </a:lnTo>
                    <a:lnTo>
                      <a:pt x="123349" y="66199"/>
                    </a:lnTo>
                    <a:lnTo>
                      <a:pt x="127159" y="80486"/>
                    </a:lnTo>
                    <a:close/>
                  </a:path>
                </a:pathLst>
              </a:custGeom>
              <a:solidFill>
                <a:srgbClr val="3C3C41"/>
              </a:solidFill>
              <a:ln w="9525" cap="flat">
                <a:noFill/>
                <a:prstDash val="solid"/>
                <a:miter/>
              </a:ln>
            </p:spPr>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fr-fr" sz="1765"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488F5663-56A7-478C-B796-401A9FADAC4E}"/>
              </a:ext>
            </a:extLst>
          </p:cNvPr>
          <p:cNvGrpSpPr>
            <a:grpSpLocks noChangeAspect="1"/>
          </p:cNvGrpSpPr>
          <p:nvPr/>
        </p:nvGrpSpPr>
        <p:grpSpPr>
          <a:xfrm>
            <a:off x="9473185" y="4405586"/>
            <a:ext cx="529368" cy="594362"/>
            <a:chOff x="8155043" y="6373357"/>
            <a:chExt cx="354976" cy="382758"/>
          </a:xfrm>
        </p:grpSpPr>
        <p:sp>
          <p:nvSpPr>
            <p:cNvPr id="75" name="Freeform: Shape 74">
              <a:extLst>
                <a:ext uri="{FF2B5EF4-FFF2-40B4-BE49-F238E27FC236}">
                  <a16:creationId xmlns:a16="http://schemas.microsoft.com/office/drawing/2014/main" id="{CD7587E9-834B-4C29-BB17-56C93C00D1B0}"/>
                </a:ext>
              </a:extLst>
            </p:cNvPr>
            <p:cNvSpPr/>
            <p:nvPr/>
          </p:nvSpPr>
          <p:spPr bwMode="auto">
            <a:xfrm rot="13557829">
              <a:off x="8264575" y="6495053"/>
              <a:ext cx="143457" cy="143532"/>
            </a:xfrm>
            <a:custGeom>
              <a:avLst/>
              <a:gdLst>
                <a:gd name="connsiteX0" fmla="*/ 156487 w 289841"/>
                <a:gd name="connsiteY0" fmla="*/ 0 h 289993"/>
                <a:gd name="connsiteX1" fmla="*/ 200485 w 289841"/>
                <a:gd name="connsiteY1" fmla="*/ 8883 h 289993"/>
                <a:gd name="connsiteX2" fmla="*/ 289841 w 289841"/>
                <a:gd name="connsiteY2" fmla="*/ 143689 h 289993"/>
                <a:gd name="connsiteX3" fmla="*/ 143537 w 289841"/>
                <a:gd name="connsiteY3" fmla="*/ 289993 h 289993"/>
                <a:gd name="connsiteX4" fmla="*/ 8730 w 289841"/>
                <a:gd name="connsiteY4" fmla="*/ 200637 h 289993"/>
                <a:gd name="connsiteX5" fmla="*/ 0 w 289841"/>
                <a:gd name="connsiteY5" fmla="*/ 157393 h 289993"/>
                <a:gd name="connsiteX6" fmla="*/ 10673 w 289841"/>
                <a:gd name="connsiteY6" fmla="*/ 159585 h 289993"/>
                <a:gd name="connsiteX7" fmla="*/ 67123 w 289841"/>
                <a:gd name="connsiteY7" fmla="*/ 149330 h 289993"/>
                <a:gd name="connsiteX8" fmla="*/ 102887 w 289841"/>
                <a:gd name="connsiteY8" fmla="*/ 125897 h 289993"/>
                <a:gd name="connsiteX9" fmla="*/ 95463 w 289841"/>
                <a:gd name="connsiteY9" fmla="*/ 137043 h 289993"/>
                <a:gd name="connsiteX10" fmla="*/ 111415 w 289841"/>
                <a:gd name="connsiteY10" fmla="*/ 217058 h 289993"/>
                <a:gd name="connsiteX11" fmla="*/ 215936 w 289841"/>
                <a:gd name="connsiteY11" fmla="*/ 216687 h 289993"/>
                <a:gd name="connsiteX12" fmla="*/ 216307 w 289841"/>
                <a:gd name="connsiteY12" fmla="*/ 112165 h 289993"/>
                <a:gd name="connsiteX13" fmla="*/ 164123 w 289841"/>
                <a:gd name="connsiteY13" fmla="*/ 90703 h 289993"/>
                <a:gd name="connsiteX14" fmla="*/ 136292 w 289841"/>
                <a:gd name="connsiteY14" fmla="*/ 96214 h 289993"/>
                <a:gd name="connsiteX15" fmla="*/ 125145 w 289841"/>
                <a:gd name="connsiteY15" fmla="*/ 103638 h 289993"/>
                <a:gd name="connsiteX16" fmla="*/ 148579 w 289841"/>
                <a:gd name="connsiteY16" fmla="*/ 67875 h 289993"/>
                <a:gd name="connsiteX17" fmla="*/ 158834 w 289841"/>
                <a:gd name="connsiteY17" fmla="*/ 11425 h 28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9841" h="289993">
                  <a:moveTo>
                    <a:pt x="156487" y="0"/>
                  </a:moveTo>
                  <a:lnTo>
                    <a:pt x="200485" y="8883"/>
                  </a:lnTo>
                  <a:cubicBezTo>
                    <a:pt x="252996" y="31093"/>
                    <a:pt x="289841" y="83089"/>
                    <a:pt x="289841" y="143689"/>
                  </a:cubicBezTo>
                  <a:cubicBezTo>
                    <a:pt x="289841" y="224490"/>
                    <a:pt x="224338" y="289993"/>
                    <a:pt x="143537" y="289993"/>
                  </a:cubicBezTo>
                  <a:cubicBezTo>
                    <a:pt x="82936" y="289993"/>
                    <a:pt x="30941" y="253148"/>
                    <a:pt x="8730" y="200637"/>
                  </a:cubicBezTo>
                  <a:lnTo>
                    <a:pt x="0" y="157393"/>
                  </a:lnTo>
                  <a:lnTo>
                    <a:pt x="10673" y="159585"/>
                  </a:lnTo>
                  <a:cubicBezTo>
                    <a:pt x="29922" y="159822"/>
                    <a:pt x="49126" y="156409"/>
                    <a:pt x="67123" y="149330"/>
                  </a:cubicBezTo>
                  <a:lnTo>
                    <a:pt x="102887" y="125897"/>
                  </a:lnTo>
                  <a:lnTo>
                    <a:pt x="95463" y="137043"/>
                  </a:lnTo>
                  <a:cubicBezTo>
                    <a:pt x="84545" y="163772"/>
                    <a:pt x="89844" y="195488"/>
                    <a:pt x="111415" y="217058"/>
                  </a:cubicBezTo>
                  <a:cubicBezTo>
                    <a:pt x="140176" y="245818"/>
                    <a:pt x="186971" y="245652"/>
                    <a:pt x="215936" y="216687"/>
                  </a:cubicBezTo>
                  <a:cubicBezTo>
                    <a:pt x="244902" y="187722"/>
                    <a:pt x="245068" y="140926"/>
                    <a:pt x="216307" y="112165"/>
                  </a:cubicBezTo>
                  <a:cubicBezTo>
                    <a:pt x="201926" y="97785"/>
                    <a:pt x="183037" y="90636"/>
                    <a:pt x="164123" y="90703"/>
                  </a:cubicBezTo>
                  <a:cubicBezTo>
                    <a:pt x="154666" y="90737"/>
                    <a:pt x="145202" y="92574"/>
                    <a:pt x="136292" y="96214"/>
                  </a:cubicBezTo>
                  <a:lnTo>
                    <a:pt x="125145" y="103638"/>
                  </a:lnTo>
                  <a:lnTo>
                    <a:pt x="148579" y="67875"/>
                  </a:lnTo>
                  <a:cubicBezTo>
                    <a:pt x="155657" y="49877"/>
                    <a:pt x="159071" y="30674"/>
                    <a:pt x="158834" y="1142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fr-fr"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49AD0655-B396-4926-A027-E87BAA9B4BC6}"/>
                </a:ext>
              </a:extLst>
            </p:cNvPr>
            <p:cNvGrpSpPr/>
            <p:nvPr/>
          </p:nvGrpSpPr>
          <p:grpSpPr>
            <a:xfrm>
              <a:off x="8155043" y="6373357"/>
              <a:ext cx="354976" cy="382758"/>
              <a:chOff x="8124814" y="6346479"/>
              <a:chExt cx="405354" cy="437078"/>
            </a:xfrm>
          </p:grpSpPr>
          <p:sp>
            <p:nvSpPr>
              <p:cNvPr id="78" name="Freeform: Shape 77">
                <a:extLst>
                  <a:ext uri="{FF2B5EF4-FFF2-40B4-BE49-F238E27FC236}">
                    <a16:creationId xmlns:a16="http://schemas.microsoft.com/office/drawing/2014/main" id="{246D31B7-EA37-4E67-B18D-4BD083BC8754}"/>
                  </a:ext>
                </a:extLst>
              </p:cNvPr>
              <p:cNvSpPr/>
              <p:nvPr/>
            </p:nvSpPr>
            <p:spPr>
              <a:xfrm>
                <a:off x="8124814" y="6346479"/>
                <a:ext cx="405354" cy="158617"/>
              </a:xfrm>
              <a:custGeom>
                <a:avLst/>
                <a:gdLst>
                  <a:gd name="connsiteX0" fmla="*/ 206202 w 405353"/>
                  <a:gd name="connsiteY0" fmla="*/ 31723 h 158616"/>
                  <a:gd name="connsiteX1" fmla="*/ 384205 w 405353"/>
                  <a:gd name="connsiteY1" fmla="*/ 160379 h 158616"/>
                  <a:gd name="connsiteX2" fmla="*/ 412404 w 405353"/>
                  <a:gd name="connsiteY2" fmla="*/ 144517 h 158616"/>
                  <a:gd name="connsiteX3" fmla="*/ 206202 w 405353"/>
                  <a:gd name="connsiteY3" fmla="*/ 0 h 158616"/>
                  <a:gd name="connsiteX4" fmla="*/ 0 w 405353"/>
                  <a:gd name="connsiteY4" fmla="*/ 142755 h 158616"/>
                  <a:gd name="connsiteX5" fmla="*/ 28199 w 405353"/>
                  <a:gd name="connsiteY5" fmla="*/ 158617 h 158616"/>
                  <a:gd name="connsiteX6" fmla="*/ 206202 w 405353"/>
                  <a:gd name="connsiteY6" fmla="*/ 31723 h 15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353" h="158616">
                    <a:moveTo>
                      <a:pt x="206202" y="31723"/>
                    </a:moveTo>
                    <a:cubicBezTo>
                      <a:pt x="289035" y="31723"/>
                      <a:pt x="359531" y="86358"/>
                      <a:pt x="384205" y="160379"/>
                    </a:cubicBezTo>
                    <a:lnTo>
                      <a:pt x="412404" y="144517"/>
                    </a:lnTo>
                    <a:cubicBezTo>
                      <a:pt x="382443" y="59922"/>
                      <a:pt x="301372" y="0"/>
                      <a:pt x="206202" y="0"/>
                    </a:cubicBezTo>
                    <a:cubicBezTo>
                      <a:pt x="112794" y="0"/>
                      <a:pt x="31723" y="59922"/>
                      <a:pt x="0" y="142755"/>
                    </a:cubicBezTo>
                    <a:lnTo>
                      <a:pt x="28199" y="158617"/>
                    </a:lnTo>
                    <a:cubicBezTo>
                      <a:pt x="52872" y="84596"/>
                      <a:pt x="123369" y="31723"/>
                      <a:pt x="206202" y="31723"/>
                    </a:cubicBezTo>
                    <a:close/>
                  </a:path>
                </a:pathLst>
              </a:custGeom>
              <a:solidFill>
                <a:schemeClr val="tx1"/>
              </a:solidFill>
              <a:ln w="174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D5946063-E2A1-43A3-8FDC-B2EF701C1784}"/>
                  </a:ext>
                </a:extLst>
              </p:cNvPr>
              <p:cNvSpPr/>
              <p:nvPr/>
            </p:nvSpPr>
            <p:spPr>
              <a:xfrm>
                <a:off x="8138913" y="6660188"/>
                <a:ext cx="370106" cy="123369"/>
              </a:xfrm>
              <a:custGeom>
                <a:avLst/>
                <a:gdLst>
                  <a:gd name="connsiteX0" fmla="*/ 357769 w 370105"/>
                  <a:gd name="connsiteY0" fmla="*/ 0 h 123368"/>
                  <a:gd name="connsiteX1" fmla="*/ 192103 w 370105"/>
                  <a:gd name="connsiteY1" fmla="*/ 96932 h 123368"/>
                  <a:gd name="connsiteX2" fmla="*/ 28199 w 370105"/>
                  <a:gd name="connsiteY2" fmla="*/ 0 h 123368"/>
                  <a:gd name="connsiteX3" fmla="*/ 0 w 370105"/>
                  <a:gd name="connsiteY3" fmla="*/ 15862 h 123368"/>
                  <a:gd name="connsiteX4" fmla="*/ 192103 w 370105"/>
                  <a:gd name="connsiteY4" fmla="*/ 128656 h 123368"/>
                  <a:gd name="connsiteX5" fmla="*/ 384205 w 370105"/>
                  <a:gd name="connsiteY5" fmla="*/ 15862 h 123368"/>
                  <a:gd name="connsiteX6" fmla="*/ 357769 w 370105"/>
                  <a:gd name="connsiteY6" fmla="*/ 0 h 12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105" h="123368">
                    <a:moveTo>
                      <a:pt x="357769" y="0"/>
                    </a:moveTo>
                    <a:cubicBezTo>
                      <a:pt x="326046" y="58159"/>
                      <a:pt x="264361" y="96932"/>
                      <a:pt x="192103" y="96932"/>
                    </a:cubicBezTo>
                    <a:cubicBezTo>
                      <a:pt x="121606" y="96932"/>
                      <a:pt x="59922" y="58159"/>
                      <a:pt x="28199" y="0"/>
                    </a:cubicBezTo>
                    <a:lnTo>
                      <a:pt x="0" y="15862"/>
                    </a:lnTo>
                    <a:cubicBezTo>
                      <a:pt x="38773" y="82833"/>
                      <a:pt x="109269" y="128656"/>
                      <a:pt x="192103" y="128656"/>
                    </a:cubicBezTo>
                    <a:cubicBezTo>
                      <a:pt x="274936" y="128656"/>
                      <a:pt x="347194" y="82833"/>
                      <a:pt x="384205" y="15862"/>
                    </a:cubicBezTo>
                    <a:lnTo>
                      <a:pt x="357769" y="0"/>
                    </a:lnTo>
                    <a:close/>
                  </a:path>
                </a:pathLst>
              </a:custGeom>
              <a:solidFill>
                <a:schemeClr val="tx1"/>
              </a:solidFill>
              <a:ln w="174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88C71AF8-34F6-4800-B1A1-65BAEE4C3705}"/>
                  </a:ext>
                </a:extLst>
              </p:cNvPr>
              <p:cNvSpPr/>
              <p:nvPr/>
            </p:nvSpPr>
            <p:spPr>
              <a:xfrm>
                <a:off x="8200598" y="6623177"/>
                <a:ext cx="246737" cy="88120"/>
              </a:xfrm>
              <a:custGeom>
                <a:avLst/>
                <a:gdLst>
                  <a:gd name="connsiteX0" fmla="*/ 232638 w 246737"/>
                  <a:gd name="connsiteY0" fmla="*/ 0 h 88120"/>
                  <a:gd name="connsiteX1" fmla="*/ 130418 w 246737"/>
                  <a:gd name="connsiteY1" fmla="*/ 59922 h 88120"/>
                  <a:gd name="connsiteX2" fmla="*/ 28199 w 246737"/>
                  <a:gd name="connsiteY2" fmla="*/ 0 h 88120"/>
                  <a:gd name="connsiteX3" fmla="*/ 0 w 246737"/>
                  <a:gd name="connsiteY3" fmla="*/ 15862 h 88120"/>
                  <a:gd name="connsiteX4" fmla="*/ 128656 w 246737"/>
                  <a:gd name="connsiteY4" fmla="*/ 91645 h 88120"/>
                  <a:gd name="connsiteX5" fmla="*/ 259074 w 246737"/>
                  <a:gd name="connsiteY5" fmla="*/ 14099 h 88120"/>
                  <a:gd name="connsiteX6" fmla="*/ 232638 w 246737"/>
                  <a:gd name="connsiteY6" fmla="*/ 0 h 8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737" h="88120">
                    <a:moveTo>
                      <a:pt x="232638" y="0"/>
                    </a:moveTo>
                    <a:cubicBezTo>
                      <a:pt x="213251" y="35248"/>
                      <a:pt x="174478" y="59922"/>
                      <a:pt x="130418" y="59922"/>
                    </a:cubicBezTo>
                    <a:cubicBezTo>
                      <a:pt x="86358" y="59922"/>
                      <a:pt x="49347" y="35248"/>
                      <a:pt x="28199" y="0"/>
                    </a:cubicBezTo>
                    <a:lnTo>
                      <a:pt x="0" y="15862"/>
                    </a:lnTo>
                    <a:cubicBezTo>
                      <a:pt x="24674" y="61684"/>
                      <a:pt x="74021" y="91645"/>
                      <a:pt x="128656" y="91645"/>
                    </a:cubicBezTo>
                    <a:cubicBezTo>
                      <a:pt x="185053" y="91645"/>
                      <a:pt x="232638" y="59922"/>
                      <a:pt x="259074" y="14099"/>
                    </a:cubicBezTo>
                    <a:lnTo>
                      <a:pt x="232638" y="0"/>
                    </a:lnTo>
                    <a:close/>
                  </a:path>
                </a:pathLst>
              </a:custGeom>
              <a:solidFill>
                <a:schemeClr val="tx1"/>
              </a:solidFill>
              <a:ln w="174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F7A270E0-A504-4ECD-B56E-49464807D92A}"/>
                  </a:ext>
                </a:extLst>
              </p:cNvPr>
              <p:cNvSpPr/>
              <p:nvPr/>
            </p:nvSpPr>
            <p:spPr>
              <a:xfrm>
                <a:off x="8190023" y="6418738"/>
                <a:ext cx="281985" cy="123369"/>
              </a:xfrm>
              <a:custGeom>
                <a:avLst/>
                <a:gdLst>
                  <a:gd name="connsiteX0" fmla="*/ 140993 w 281985"/>
                  <a:gd name="connsiteY0" fmla="*/ 33486 h 123368"/>
                  <a:gd name="connsiteX1" fmla="*/ 255549 w 281985"/>
                  <a:gd name="connsiteY1" fmla="*/ 126893 h 123368"/>
                  <a:gd name="connsiteX2" fmla="*/ 276698 w 281985"/>
                  <a:gd name="connsiteY2" fmla="*/ 114557 h 123368"/>
                  <a:gd name="connsiteX3" fmla="*/ 285510 w 281985"/>
                  <a:gd name="connsiteY3" fmla="*/ 109269 h 123368"/>
                  <a:gd name="connsiteX4" fmla="*/ 142755 w 281985"/>
                  <a:gd name="connsiteY4" fmla="*/ 0 h 123368"/>
                  <a:gd name="connsiteX5" fmla="*/ 0 w 281985"/>
                  <a:gd name="connsiteY5" fmla="*/ 107507 h 123368"/>
                  <a:gd name="connsiteX6" fmla="*/ 8812 w 281985"/>
                  <a:gd name="connsiteY6" fmla="*/ 112794 h 123368"/>
                  <a:gd name="connsiteX7" fmla="*/ 28199 w 281985"/>
                  <a:gd name="connsiteY7" fmla="*/ 123369 h 123368"/>
                  <a:gd name="connsiteX8" fmla="*/ 140993 w 281985"/>
                  <a:gd name="connsiteY8" fmla="*/ 33486 h 12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985" h="123368">
                    <a:moveTo>
                      <a:pt x="140993" y="33486"/>
                    </a:moveTo>
                    <a:cubicBezTo>
                      <a:pt x="197390" y="33486"/>
                      <a:pt x="243212" y="74021"/>
                      <a:pt x="255549" y="126893"/>
                    </a:cubicBezTo>
                    <a:lnTo>
                      <a:pt x="276698" y="114557"/>
                    </a:lnTo>
                    <a:lnTo>
                      <a:pt x="285510" y="109269"/>
                    </a:lnTo>
                    <a:cubicBezTo>
                      <a:pt x="267886" y="45823"/>
                      <a:pt x="211489" y="0"/>
                      <a:pt x="142755" y="0"/>
                    </a:cubicBezTo>
                    <a:cubicBezTo>
                      <a:pt x="75784" y="0"/>
                      <a:pt x="17624" y="45823"/>
                      <a:pt x="0" y="107507"/>
                    </a:cubicBezTo>
                    <a:lnTo>
                      <a:pt x="8812" y="112794"/>
                    </a:lnTo>
                    <a:lnTo>
                      <a:pt x="28199" y="123369"/>
                    </a:lnTo>
                    <a:cubicBezTo>
                      <a:pt x="38773" y="72259"/>
                      <a:pt x="86358" y="33486"/>
                      <a:pt x="140993" y="33486"/>
                    </a:cubicBezTo>
                    <a:close/>
                  </a:path>
                </a:pathLst>
              </a:custGeom>
              <a:solidFill>
                <a:schemeClr val="tx1"/>
              </a:solidFill>
              <a:ln w="174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3C3C41"/>
                  </a:solidFill>
                  <a:effectLst/>
                  <a:uLnTx/>
                  <a:uFillTx/>
                  <a:latin typeface="Segoe UI"/>
                  <a:ea typeface="+mn-ea"/>
                  <a:cs typeface="+mn-cs"/>
                </a:endParaRPr>
              </a:p>
            </p:txBody>
          </p:sp>
        </p:grpSp>
      </p:grpSp>
      <p:pic>
        <p:nvPicPr>
          <p:cNvPr id="82" name="Picture 81">
            <a:extLst>
              <a:ext uri="{FF2B5EF4-FFF2-40B4-BE49-F238E27FC236}">
                <a16:creationId xmlns:a16="http://schemas.microsoft.com/office/drawing/2014/main" id="{83534D71-EA50-4992-94AF-FC19369F148E}"/>
              </a:ext>
            </a:extLst>
          </p:cNvPr>
          <p:cNvPicPr>
            <a:picLocks noChangeAspect="1"/>
          </p:cNvPicPr>
          <p:nvPr/>
        </p:nvPicPr>
        <p:blipFill rotWithShape="1">
          <a:blip r:embed="rId4"/>
          <a:srcRect l="12132" t="1165" r="70418" b="67812"/>
          <a:stretch/>
        </p:blipFill>
        <p:spPr>
          <a:xfrm>
            <a:off x="6125491" y="2316881"/>
            <a:ext cx="1554480" cy="1554480"/>
          </a:xfrm>
          <a:prstGeom prst="ellipse">
            <a:avLst/>
          </a:prstGeom>
          <a:ln w="38100">
            <a:solidFill>
              <a:schemeClr val="tx1"/>
            </a:solidFill>
          </a:ln>
          <a:effectLst>
            <a:outerShdw blurRad="254000" dist="76200" dir="2700000" algn="ctr" rotWithShape="0">
              <a:srgbClr val="000000">
                <a:alpha val="40000"/>
              </a:srgbClr>
            </a:outerShdw>
          </a:effectLst>
        </p:spPr>
      </p:pic>
      <p:pic>
        <p:nvPicPr>
          <p:cNvPr id="83" name="Picture 82">
            <a:extLst>
              <a:ext uri="{FF2B5EF4-FFF2-40B4-BE49-F238E27FC236}">
                <a16:creationId xmlns:a16="http://schemas.microsoft.com/office/drawing/2014/main" id="{B8697ACC-6D1E-42DB-981E-010C14676D47}"/>
              </a:ext>
            </a:extLst>
          </p:cNvPr>
          <p:cNvPicPr>
            <a:picLocks noChangeAspect="1"/>
          </p:cNvPicPr>
          <p:nvPr/>
        </p:nvPicPr>
        <p:blipFill rotWithShape="1">
          <a:blip r:embed="rId3"/>
          <a:srcRect l="38999" t="58729" r="37746" b="-73"/>
          <a:stretch/>
        </p:blipFill>
        <p:spPr>
          <a:xfrm>
            <a:off x="8251952" y="1005806"/>
            <a:ext cx="1554480" cy="1554480"/>
          </a:xfrm>
          <a:prstGeom prst="ellipse">
            <a:avLst/>
          </a:prstGeom>
          <a:ln w="38100">
            <a:solidFill>
              <a:schemeClr val="tx1"/>
            </a:solidFill>
          </a:ln>
          <a:effectLst>
            <a:outerShdw blurRad="254000" dist="76200" dir="2700000" algn="ctr" rotWithShape="0">
              <a:srgbClr val="000000">
                <a:alpha val="40000"/>
              </a:srgbClr>
            </a:outerShdw>
          </a:effectLst>
        </p:spPr>
      </p:pic>
      <p:grpSp>
        <p:nvGrpSpPr>
          <p:cNvPr id="73" name="Group 72">
            <a:extLst>
              <a:ext uri="{FF2B5EF4-FFF2-40B4-BE49-F238E27FC236}">
                <a16:creationId xmlns:a16="http://schemas.microsoft.com/office/drawing/2014/main" id="{D2BA212A-712A-452C-B325-D95FA05D41BD}"/>
              </a:ext>
            </a:extLst>
          </p:cNvPr>
          <p:cNvGrpSpPr/>
          <p:nvPr/>
        </p:nvGrpSpPr>
        <p:grpSpPr>
          <a:xfrm>
            <a:off x="11349811" y="551543"/>
            <a:ext cx="493855" cy="483292"/>
            <a:chOff x="2006335" y="4257688"/>
            <a:chExt cx="509604" cy="525531"/>
          </a:xfrm>
        </p:grpSpPr>
        <p:sp>
          <p:nvSpPr>
            <p:cNvPr id="76" name="Freeform 1052">
              <a:extLst>
                <a:ext uri="{FF2B5EF4-FFF2-40B4-BE49-F238E27FC236}">
                  <a16:creationId xmlns:a16="http://schemas.microsoft.com/office/drawing/2014/main" id="{08DCEBA6-B749-4ECF-B9D9-F832C2A5ED96}"/>
                </a:ext>
              </a:extLst>
            </p:cNvPr>
            <p:cNvSpPr>
              <a:spLocks/>
            </p:cNvSpPr>
            <p:nvPr/>
          </p:nvSpPr>
          <p:spPr bwMode="auto">
            <a:xfrm>
              <a:off x="2244106" y="4412657"/>
              <a:ext cx="95551" cy="212335"/>
            </a:xfrm>
            <a:custGeom>
              <a:avLst/>
              <a:gdLst>
                <a:gd name="T0" fmla="*/ 13 w 18"/>
                <a:gd name="T1" fmla="*/ 40 h 40"/>
                <a:gd name="T2" fmla="*/ 0 w 18"/>
                <a:gd name="T3" fmla="*/ 27 h 40"/>
                <a:gd name="T4" fmla="*/ 0 w 18"/>
                <a:gd name="T5" fmla="*/ 0 h 40"/>
                <a:gd name="T6" fmla="*/ 6 w 18"/>
                <a:gd name="T7" fmla="*/ 0 h 40"/>
                <a:gd name="T8" fmla="*/ 6 w 18"/>
                <a:gd name="T9" fmla="*/ 23 h 40"/>
                <a:gd name="T10" fmla="*/ 18 w 18"/>
                <a:gd name="T11" fmla="*/ 35 h 40"/>
                <a:gd name="T12" fmla="*/ 13 w 1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8" h="40">
                  <a:moveTo>
                    <a:pt x="13" y="40"/>
                  </a:moveTo>
                  <a:lnTo>
                    <a:pt x="0" y="27"/>
                  </a:lnTo>
                  <a:lnTo>
                    <a:pt x="0" y="0"/>
                  </a:lnTo>
                  <a:lnTo>
                    <a:pt x="6" y="0"/>
                  </a:lnTo>
                  <a:lnTo>
                    <a:pt x="6" y="23"/>
                  </a:lnTo>
                  <a:lnTo>
                    <a:pt x="18" y="35"/>
                  </a:lnTo>
                  <a:lnTo>
                    <a:pt x="13" y="40"/>
                  </a:lnTo>
                  <a:close/>
                </a:path>
              </a:pathLst>
            </a:custGeom>
            <a:solidFill>
              <a:srgbClr val="30E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0" cap="none" spc="0" normalizeH="0" baseline="0" noProof="0">
                <a:ln>
                  <a:noFill/>
                </a:ln>
                <a:solidFill>
                  <a:srgbClr val="3C3C41"/>
                </a:solidFill>
                <a:effectLst/>
                <a:uLnTx/>
                <a:uFillTx/>
                <a:latin typeface="Segoe UI"/>
                <a:ea typeface="+mn-ea"/>
                <a:cs typeface="+mn-cs"/>
              </a:endParaRPr>
            </a:p>
          </p:txBody>
        </p:sp>
        <p:sp>
          <p:nvSpPr>
            <p:cNvPr id="84" name="Freeform 1053">
              <a:extLst>
                <a:ext uri="{FF2B5EF4-FFF2-40B4-BE49-F238E27FC236}">
                  <a16:creationId xmlns:a16="http://schemas.microsoft.com/office/drawing/2014/main" id="{4590240C-FADF-4157-A36F-32041CB8924C}"/>
                </a:ext>
              </a:extLst>
            </p:cNvPr>
            <p:cNvSpPr>
              <a:spLocks/>
            </p:cNvSpPr>
            <p:nvPr/>
          </p:nvSpPr>
          <p:spPr bwMode="auto">
            <a:xfrm flipH="1">
              <a:off x="2006335" y="4257688"/>
              <a:ext cx="509604" cy="525531"/>
            </a:xfrm>
            <a:custGeom>
              <a:avLst/>
              <a:gdLst>
                <a:gd name="T0" fmla="*/ 60 w 120"/>
                <a:gd name="T1" fmla="*/ 4 h 124"/>
                <a:gd name="T2" fmla="*/ 28 w 120"/>
                <a:gd name="T3" fmla="*/ 13 h 124"/>
                <a:gd name="T4" fmla="*/ 26 w 120"/>
                <a:gd name="T5" fmla="*/ 14 h 124"/>
                <a:gd name="T6" fmla="*/ 12 w 120"/>
                <a:gd name="T7" fmla="*/ 0 h 124"/>
                <a:gd name="T8" fmla="*/ 12 w 120"/>
                <a:gd name="T9" fmla="*/ 36 h 124"/>
                <a:gd name="T10" fmla="*/ 48 w 120"/>
                <a:gd name="T11" fmla="*/ 36 h 124"/>
                <a:gd name="T12" fmla="*/ 32 w 120"/>
                <a:gd name="T13" fmla="*/ 20 h 124"/>
                <a:gd name="T14" fmla="*/ 32 w 120"/>
                <a:gd name="T15" fmla="*/ 20 h 124"/>
                <a:gd name="T16" fmla="*/ 60 w 120"/>
                <a:gd name="T17" fmla="*/ 12 h 124"/>
                <a:gd name="T18" fmla="*/ 112 w 120"/>
                <a:gd name="T19" fmla="*/ 64 h 124"/>
                <a:gd name="T20" fmla="*/ 60 w 120"/>
                <a:gd name="T21" fmla="*/ 116 h 124"/>
                <a:gd name="T22" fmla="*/ 8 w 120"/>
                <a:gd name="T23" fmla="*/ 64 h 124"/>
                <a:gd name="T24" fmla="*/ 0 w 120"/>
                <a:gd name="T25" fmla="*/ 64 h 124"/>
                <a:gd name="T26" fmla="*/ 60 w 120"/>
                <a:gd name="T27" fmla="*/ 124 h 124"/>
                <a:gd name="T28" fmla="*/ 120 w 120"/>
                <a:gd name="T29" fmla="*/ 64 h 124"/>
                <a:gd name="T30" fmla="*/ 60 w 120"/>
                <a:gd name="T31"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4">
                  <a:moveTo>
                    <a:pt x="60" y="4"/>
                  </a:moveTo>
                  <a:cubicBezTo>
                    <a:pt x="48" y="4"/>
                    <a:pt x="37" y="7"/>
                    <a:pt x="28" y="13"/>
                  </a:cubicBezTo>
                  <a:cubicBezTo>
                    <a:pt x="26" y="14"/>
                    <a:pt x="26" y="14"/>
                    <a:pt x="26" y="14"/>
                  </a:cubicBezTo>
                  <a:cubicBezTo>
                    <a:pt x="12" y="0"/>
                    <a:pt x="12" y="0"/>
                    <a:pt x="12" y="0"/>
                  </a:cubicBezTo>
                  <a:cubicBezTo>
                    <a:pt x="12" y="36"/>
                    <a:pt x="12" y="36"/>
                    <a:pt x="12" y="36"/>
                  </a:cubicBezTo>
                  <a:cubicBezTo>
                    <a:pt x="48" y="36"/>
                    <a:pt x="48" y="36"/>
                    <a:pt x="48" y="36"/>
                  </a:cubicBezTo>
                  <a:cubicBezTo>
                    <a:pt x="32" y="20"/>
                    <a:pt x="32" y="20"/>
                    <a:pt x="32" y="20"/>
                  </a:cubicBezTo>
                  <a:cubicBezTo>
                    <a:pt x="32" y="20"/>
                    <a:pt x="32" y="20"/>
                    <a:pt x="32" y="20"/>
                  </a:cubicBezTo>
                  <a:cubicBezTo>
                    <a:pt x="40" y="15"/>
                    <a:pt x="50" y="12"/>
                    <a:pt x="60" y="12"/>
                  </a:cubicBezTo>
                  <a:cubicBezTo>
                    <a:pt x="89" y="12"/>
                    <a:pt x="112" y="35"/>
                    <a:pt x="112" y="64"/>
                  </a:cubicBezTo>
                  <a:cubicBezTo>
                    <a:pt x="112" y="93"/>
                    <a:pt x="89" y="116"/>
                    <a:pt x="60" y="116"/>
                  </a:cubicBezTo>
                  <a:cubicBezTo>
                    <a:pt x="31" y="116"/>
                    <a:pt x="8" y="93"/>
                    <a:pt x="8" y="64"/>
                  </a:cubicBezTo>
                  <a:cubicBezTo>
                    <a:pt x="0" y="64"/>
                    <a:pt x="0" y="64"/>
                    <a:pt x="0" y="64"/>
                  </a:cubicBezTo>
                  <a:cubicBezTo>
                    <a:pt x="0" y="97"/>
                    <a:pt x="27" y="124"/>
                    <a:pt x="60" y="124"/>
                  </a:cubicBezTo>
                  <a:cubicBezTo>
                    <a:pt x="93" y="124"/>
                    <a:pt x="120" y="97"/>
                    <a:pt x="120" y="64"/>
                  </a:cubicBezTo>
                  <a:cubicBezTo>
                    <a:pt x="120" y="31"/>
                    <a:pt x="93" y="4"/>
                    <a:pt x="60" y="4"/>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0" cap="none" spc="0" normalizeH="0" baseline="0" noProof="0">
                <a:ln>
                  <a:noFill/>
                </a:ln>
                <a:solidFill>
                  <a:srgbClr val="3C3C41"/>
                </a:solidFill>
                <a:effectLst/>
                <a:uLnTx/>
                <a:uFillTx/>
                <a:latin typeface="Segoe UI"/>
                <a:ea typeface="+mn-ea"/>
                <a:cs typeface="+mn-cs"/>
              </a:endParaRPr>
            </a:p>
          </p:txBody>
        </p:sp>
      </p:grpSp>
    </p:spTree>
    <p:extLst>
      <p:ext uri="{BB962C8B-B14F-4D97-AF65-F5344CB8AC3E}">
        <p14:creationId xmlns:p14="http://schemas.microsoft.com/office/powerpoint/2010/main" val="241375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F15C3-5E64-46A1-9042-1DF37AEF965E}"/>
              </a:ext>
            </a:extLst>
          </p:cNvPr>
          <p:cNvSpPr>
            <a:spLocks noGrp="1"/>
          </p:cNvSpPr>
          <p:nvPr>
            <p:ph type="title"/>
          </p:nvPr>
        </p:nvSpPr>
        <p:spPr/>
        <p:txBody>
          <a:bodyPr/>
          <a:lstStyle/>
          <a:p>
            <a:pPr algn="l" rtl="0"/>
            <a:r>
              <a:rPr lang="fr-fr" b="0" i="0" u="none" baseline="0" dirty="0"/>
              <a:t>S</a:t>
            </a:r>
            <a:r>
              <a:rPr lang="fr-FR" b="0" i="0" u="none" baseline="0" dirty="0"/>
              <a:t>’</a:t>
            </a:r>
            <a:r>
              <a:rPr lang="fr-fr" b="0" i="0" u="none" baseline="0" dirty="0"/>
              <a:t>adapter à la nouvelle réalité </a:t>
            </a:r>
          </a:p>
        </p:txBody>
      </p:sp>
      <p:sp>
        <p:nvSpPr>
          <p:cNvPr id="3" name="Rectangle 2">
            <a:extLst>
              <a:ext uri="{FF2B5EF4-FFF2-40B4-BE49-F238E27FC236}">
                <a16:creationId xmlns:a16="http://schemas.microsoft.com/office/drawing/2014/main" id="{B0C5BED4-9B6B-44C6-931A-2D4421B1390D}"/>
              </a:ext>
            </a:extLst>
          </p:cNvPr>
          <p:cNvSpPr/>
          <p:nvPr/>
        </p:nvSpPr>
        <p:spPr bwMode="auto">
          <a:xfrm>
            <a:off x="7968343" y="-1"/>
            <a:ext cx="4468132" cy="699452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pic>
        <p:nvPicPr>
          <p:cNvPr id="32" name="Picture 31" descr="A person sitting on a chair&#10;&#10;Description automatically generated">
            <a:extLst>
              <a:ext uri="{FF2B5EF4-FFF2-40B4-BE49-F238E27FC236}">
                <a16:creationId xmlns:a16="http://schemas.microsoft.com/office/drawing/2014/main" id="{70762179-448C-4560-8D3A-C913396E2DE9}"/>
              </a:ext>
            </a:extLst>
          </p:cNvPr>
          <p:cNvPicPr>
            <a:picLocks noChangeAspect="1"/>
          </p:cNvPicPr>
          <p:nvPr/>
        </p:nvPicPr>
        <p:blipFill rotWithShape="1">
          <a:blip r:embed="rId3">
            <a:extLst>
              <a:ext uri="{28A0092B-C50C-407E-A947-70E740481C1C}">
                <a14:useLocalDpi xmlns:a14="http://schemas.microsoft.com/office/drawing/2010/main" val="0"/>
              </a:ext>
            </a:extLst>
          </a:blip>
          <a:srcRect l="25548" t="1108" r="9428" b="28722"/>
          <a:stretch/>
        </p:blipFill>
        <p:spPr>
          <a:xfrm flipH="1">
            <a:off x="8114533" y="-1"/>
            <a:ext cx="4321063" cy="6994525"/>
          </a:xfrm>
          <a:custGeom>
            <a:avLst/>
            <a:gdLst>
              <a:gd name="connsiteX0" fmla="*/ 4236721 w 4236721"/>
              <a:gd name="connsiteY0" fmla="*/ 0 h 6858000"/>
              <a:gd name="connsiteX1" fmla="*/ 0 w 4236721"/>
              <a:gd name="connsiteY1" fmla="*/ 0 h 6858000"/>
              <a:gd name="connsiteX2" fmla="*/ 0 w 4236721"/>
              <a:gd name="connsiteY2" fmla="*/ 6858000 h 6858000"/>
              <a:gd name="connsiteX3" fmla="*/ 4236721 w 42367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236721" h="6858000">
                <a:moveTo>
                  <a:pt x="4236721" y="0"/>
                </a:moveTo>
                <a:lnTo>
                  <a:pt x="0" y="0"/>
                </a:lnTo>
                <a:lnTo>
                  <a:pt x="0" y="6858000"/>
                </a:lnTo>
                <a:lnTo>
                  <a:pt x="4236721" y="6858000"/>
                </a:lnTo>
                <a:close/>
              </a:path>
            </a:pathLst>
          </a:custGeom>
        </p:spPr>
      </p:pic>
      <p:sp>
        <p:nvSpPr>
          <p:cNvPr id="37" name="Rectangle 36">
            <a:extLst>
              <a:ext uri="{FF2B5EF4-FFF2-40B4-BE49-F238E27FC236}">
                <a16:creationId xmlns:a16="http://schemas.microsoft.com/office/drawing/2014/main" id="{95512E4D-00E8-40D8-A208-C662772478C4}"/>
              </a:ext>
            </a:extLst>
          </p:cNvPr>
          <p:cNvSpPr/>
          <p:nvPr/>
        </p:nvSpPr>
        <p:spPr bwMode="auto">
          <a:xfrm>
            <a:off x="1" y="1168401"/>
            <a:ext cx="1375224" cy="51006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25CE7C8A-4961-40D8-A3CC-03AA579BBABE}"/>
              </a:ext>
            </a:extLst>
          </p:cNvPr>
          <p:cNvGrpSpPr/>
          <p:nvPr/>
        </p:nvGrpSpPr>
        <p:grpSpPr>
          <a:xfrm>
            <a:off x="584200" y="1564797"/>
            <a:ext cx="6311362" cy="615553"/>
            <a:chOff x="584200" y="1564797"/>
            <a:chExt cx="6311362" cy="615553"/>
          </a:xfrm>
        </p:grpSpPr>
        <p:sp>
          <p:nvSpPr>
            <p:cNvPr id="38" name="TextBox 37">
              <a:extLst>
                <a:ext uri="{FF2B5EF4-FFF2-40B4-BE49-F238E27FC236}">
                  <a16:creationId xmlns:a16="http://schemas.microsoft.com/office/drawing/2014/main" id="{475E1A16-E88B-4F7A-8394-B7B40FA75434}"/>
                </a:ext>
              </a:extLst>
            </p:cNvPr>
            <p:cNvSpPr txBox="1"/>
            <p:nvPr/>
          </p:nvSpPr>
          <p:spPr>
            <a:xfrm>
              <a:off x="584200" y="1626352"/>
              <a:ext cx="442429" cy="492443"/>
            </a:xfrm>
            <a:prstGeom prst="rect">
              <a:avLst/>
            </a:prstGeom>
            <a:noFill/>
          </p:spPr>
          <p:txBody>
            <a:bodyPr wrap="none" lIns="0" tIns="0" rIns="0" bIns="0" rtlCol="0" anchor="ctr">
              <a:spAutoFit/>
            </a:bodyPr>
            <a:lstStyle/>
            <a:p>
              <a:pPr algn="ctr" rtl="0"/>
              <a:r>
                <a:rPr lang="fr-fr" sz="3200" b="0" i="0" u="none" baseline="0">
                  <a:solidFill>
                    <a:schemeClr val="tx2"/>
                  </a:solidFill>
                </a:rPr>
                <a:t>01</a:t>
              </a:r>
              <a:endParaRPr lang="fr-fr" sz="3200" dirty="0" err="1">
                <a:solidFill>
                  <a:schemeClr val="tx2"/>
                </a:solidFill>
              </a:endParaRPr>
            </a:p>
          </p:txBody>
        </p:sp>
        <p:grpSp>
          <p:nvGrpSpPr>
            <p:cNvPr id="45" name="Group 44">
              <a:extLst>
                <a:ext uri="{FF2B5EF4-FFF2-40B4-BE49-F238E27FC236}">
                  <a16:creationId xmlns:a16="http://schemas.microsoft.com/office/drawing/2014/main" id="{44C04889-07D5-41E5-B145-A66A415AAA8C}"/>
                </a:ext>
              </a:extLst>
            </p:cNvPr>
            <p:cNvGrpSpPr/>
            <p:nvPr/>
          </p:nvGrpSpPr>
          <p:grpSpPr>
            <a:xfrm>
              <a:off x="1283785" y="1564797"/>
              <a:ext cx="182880" cy="615553"/>
              <a:chOff x="6029365" y="592534"/>
              <a:chExt cx="182880" cy="615553"/>
            </a:xfrm>
          </p:grpSpPr>
          <p:cxnSp>
            <p:nvCxnSpPr>
              <p:cNvPr id="46" name="Straight Connector 45">
                <a:extLst>
                  <a:ext uri="{FF2B5EF4-FFF2-40B4-BE49-F238E27FC236}">
                    <a16:creationId xmlns:a16="http://schemas.microsoft.com/office/drawing/2014/main" id="{76482B85-D5F3-4BAF-9991-7C748555D7DA}"/>
                  </a:ext>
                </a:extLst>
              </p:cNvPr>
              <p:cNvCxnSpPr>
                <a:cxnSpLocks/>
              </p:cNvCxnSpPr>
              <p:nvPr/>
            </p:nvCxnSpPr>
            <p:spPr>
              <a:xfrm>
                <a:off x="6120805" y="592534"/>
                <a:ext cx="0" cy="615553"/>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CBB1D934-799C-49B8-8FDC-05E74B2AC27C}"/>
                  </a:ext>
                </a:extLst>
              </p:cNvPr>
              <p:cNvSpPr>
                <a:spLocks noChangeAspect="1"/>
              </p:cNvSpPr>
              <p:nvPr/>
            </p:nvSpPr>
            <p:spPr bwMode="auto">
              <a:xfrm>
                <a:off x="6029365" y="808870"/>
                <a:ext cx="182880" cy="18288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chemeClr val="bg1"/>
                  </a:solidFill>
                  <a:ea typeface="Segoe UI" pitchFamily="34" charset="0"/>
                  <a:cs typeface="Segoe UI" pitchFamily="34" charset="0"/>
                </a:endParaRPr>
              </a:p>
            </p:txBody>
          </p:sp>
        </p:grpSp>
        <p:sp>
          <p:nvSpPr>
            <p:cNvPr id="66" name="Text Placeholder 3">
              <a:extLst>
                <a:ext uri="{FF2B5EF4-FFF2-40B4-BE49-F238E27FC236}">
                  <a16:creationId xmlns:a16="http://schemas.microsoft.com/office/drawing/2014/main" id="{1022224B-E474-4B06-B472-0C8B487D3318}"/>
                </a:ext>
              </a:extLst>
            </p:cNvPr>
            <p:cNvSpPr txBox="1">
              <a:spLocks/>
            </p:cNvSpPr>
            <p:nvPr/>
          </p:nvSpPr>
          <p:spPr>
            <a:xfrm>
              <a:off x="1759156" y="1718685"/>
              <a:ext cx="5136406" cy="307777"/>
            </a:xfrm>
            <a:prstGeom prst="rect">
              <a:avLst/>
            </a:prstGeom>
          </p:spPr>
          <p:txBody>
            <a:bodyPr vert="horz" wrap="non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defTabSz="914191" rtl="0">
                <a:spcBef>
                  <a:spcPts val="1176"/>
                </a:spcBef>
                <a:spcAft>
                  <a:spcPts val="587"/>
                </a:spcAft>
                <a:buNone/>
                <a:defRPr/>
              </a:pPr>
              <a:r>
                <a:rPr lang="fr-fr" sz="2000" b="0" i="0" u="none" baseline="0"/>
                <a:t>Guider et collaborer avec les clients à distance</a:t>
              </a:r>
            </a:p>
          </p:txBody>
        </p:sp>
      </p:grpSp>
      <p:grpSp>
        <p:nvGrpSpPr>
          <p:cNvPr id="22" name="Group 21">
            <a:extLst>
              <a:ext uri="{FF2B5EF4-FFF2-40B4-BE49-F238E27FC236}">
                <a16:creationId xmlns:a16="http://schemas.microsoft.com/office/drawing/2014/main" id="{9FAC8F4D-8AE0-47F2-9DFB-CA5C2FB838B6}"/>
              </a:ext>
            </a:extLst>
          </p:cNvPr>
          <p:cNvGrpSpPr/>
          <p:nvPr/>
        </p:nvGrpSpPr>
        <p:grpSpPr>
          <a:xfrm>
            <a:off x="584200" y="2495824"/>
            <a:ext cx="7392736" cy="930762"/>
            <a:chOff x="584200" y="2495824"/>
            <a:chExt cx="7392736" cy="930762"/>
          </a:xfrm>
        </p:grpSpPr>
        <p:sp>
          <p:nvSpPr>
            <p:cNvPr id="39" name="TextBox 38">
              <a:extLst>
                <a:ext uri="{FF2B5EF4-FFF2-40B4-BE49-F238E27FC236}">
                  <a16:creationId xmlns:a16="http://schemas.microsoft.com/office/drawing/2014/main" id="{B74DE6E1-CE1E-42FB-A77A-31911854C61F}"/>
                </a:ext>
              </a:extLst>
            </p:cNvPr>
            <p:cNvSpPr txBox="1"/>
            <p:nvPr/>
          </p:nvSpPr>
          <p:spPr>
            <a:xfrm>
              <a:off x="584200" y="2872985"/>
              <a:ext cx="442429" cy="492443"/>
            </a:xfrm>
            <a:prstGeom prst="rect">
              <a:avLst/>
            </a:prstGeom>
            <a:noFill/>
          </p:spPr>
          <p:txBody>
            <a:bodyPr wrap="none" lIns="0" tIns="0" rIns="0" bIns="0" rtlCol="0" anchor="ctr">
              <a:spAutoFit/>
            </a:bodyPr>
            <a:lstStyle/>
            <a:p>
              <a:pPr algn="ctr" rtl="0"/>
              <a:r>
                <a:rPr lang="fr-fr" sz="3200" b="0" i="0" u="none" baseline="0">
                  <a:solidFill>
                    <a:schemeClr val="tx2"/>
                  </a:solidFill>
                </a:rPr>
                <a:t>02</a:t>
              </a:r>
              <a:endParaRPr lang="fr-fr" sz="3200" dirty="0" err="1">
                <a:solidFill>
                  <a:schemeClr val="tx2"/>
                </a:solidFill>
              </a:endParaRPr>
            </a:p>
          </p:txBody>
        </p:sp>
        <p:grpSp>
          <p:nvGrpSpPr>
            <p:cNvPr id="48" name="Group 47">
              <a:extLst>
                <a:ext uri="{FF2B5EF4-FFF2-40B4-BE49-F238E27FC236}">
                  <a16:creationId xmlns:a16="http://schemas.microsoft.com/office/drawing/2014/main" id="{D254A010-9BC4-4B96-80E2-ED4DC5A5A39C}"/>
                </a:ext>
              </a:extLst>
            </p:cNvPr>
            <p:cNvGrpSpPr/>
            <p:nvPr/>
          </p:nvGrpSpPr>
          <p:grpSpPr>
            <a:xfrm>
              <a:off x="1283785" y="2811033"/>
              <a:ext cx="182880" cy="615553"/>
              <a:chOff x="6029365" y="592534"/>
              <a:chExt cx="182880" cy="615553"/>
            </a:xfrm>
          </p:grpSpPr>
          <p:cxnSp>
            <p:nvCxnSpPr>
              <p:cNvPr id="49" name="Straight Connector 48">
                <a:extLst>
                  <a:ext uri="{FF2B5EF4-FFF2-40B4-BE49-F238E27FC236}">
                    <a16:creationId xmlns:a16="http://schemas.microsoft.com/office/drawing/2014/main" id="{216FF0BC-5D2D-49D1-B8EC-397E1BED38F9}"/>
                  </a:ext>
                </a:extLst>
              </p:cNvPr>
              <p:cNvCxnSpPr>
                <a:cxnSpLocks/>
              </p:cNvCxnSpPr>
              <p:nvPr/>
            </p:nvCxnSpPr>
            <p:spPr>
              <a:xfrm>
                <a:off x="6120805" y="592534"/>
                <a:ext cx="0" cy="615553"/>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6A65E85B-85E9-4180-8330-7031E0DFA335}"/>
                  </a:ext>
                </a:extLst>
              </p:cNvPr>
              <p:cNvSpPr>
                <a:spLocks noChangeAspect="1"/>
              </p:cNvSpPr>
              <p:nvPr/>
            </p:nvSpPr>
            <p:spPr bwMode="auto">
              <a:xfrm>
                <a:off x="6029365" y="808870"/>
                <a:ext cx="182880" cy="18288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chemeClr val="bg1"/>
                  </a:solidFill>
                  <a:ea typeface="Segoe UI" pitchFamily="34" charset="0"/>
                  <a:cs typeface="Segoe UI" pitchFamily="34" charset="0"/>
                </a:endParaRPr>
              </a:p>
            </p:txBody>
          </p:sp>
        </p:grpSp>
        <p:sp>
          <p:nvSpPr>
            <p:cNvPr id="67" name="Text Placeholder 3 - 1">
              <a:extLst>
                <a:ext uri="{FF2B5EF4-FFF2-40B4-BE49-F238E27FC236}">
                  <a16:creationId xmlns:a16="http://schemas.microsoft.com/office/drawing/2014/main" id="{2556FC91-CC59-485E-9E80-00E82BCDE111}"/>
                </a:ext>
              </a:extLst>
            </p:cNvPr>
            <p:cNvSpPr txBox="1">
              <a:spLocks/>
            </p:cNvSpPr>
            <p:nvPr/>
          </p:nvSpPr>
          <p:spPr>
            <a:xfrm>
              <a:off x="1759155" y="2965186"/>
              <a:ext cx="5689391"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91">
                <a:spcBef>
                  <a:spcPts val="1176"/>
                </a:spcBef>
                <a:spcAft>
                  <a:spcPts val="587"/>
                </a:spcAft>
                <a:buNone/>
                <a:defRPr/>
              </a:pPr>
              <a:r>
                <a:rPr lang="fr-fr" sz="2000" b="0" i="0" u="none" baseline="0" dirty="0"/>
                <a:t>Comprendre </a:t>
              </a:r>
              <a:r>
                <a:rPr lang="fr-FR" sz="2000" dirty="0"/>
                <a:t>vos</a:t>
              </a:r>
              <a:r>
                <a:rPr lang="fr-fr" sz="2000" b="0" i="0" u="none" baseline="0" dirty="0"/>
                <a:t> clients et renforcer les relations</a:t>
              </a:r>
            </a:p>
          </p:txBody>
        </p:sp>
        <p:cxnSp>
          <p:nvCxnSpPr>
            <p:cNvPr id="75" name="Straight Connector 74">
              <a:extLst>
                <a:ext uri="{FF2B5EF4-FFF2-40B4-BE49-F238E27FC236}">
                  <a16:creationId xmlns:a16="http://schemas.microsoft.com/office/drawing/2014/main" id="{BE9B85CE-96B7-497A-B2BF-9D614249D403}"/>
                </a:ext>
              </a:extLst>
            </p:cNvPr>
            <p:cNvCxnSpPr>
              <a:cxnSpLocks/>
            </p:cNvCxnSpPr>
            <p:nvPr/>
          </p:nvCxnSpPr>
          <p:spPr>
            <a:xfrm>
              <a:off x="1759155" y="2495824"/>
              <a:ext cx="621778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DE7DC754-4173-419F-87B2-0D8B39FD6CD1}"/>
              </a:ext>
            </a:extLst>
          </p:cNvPr>
          <p:cNvGrpSpPr/>
          <p:nvPr/>
        </p:nvGrpSpPr>
        <p:grpSpPr>
          <a:xfrm>
            <a:off x="584200" y="3742325"/>
            <a:ext cx="7392736" cy="930497"/>
            <a:chOff x="584200" y="3742325"/>
            <a:chExt cx="7392736" cy="930497"/>
          </a:xfrm>
        </p:grpSpPr>
        <p:sp>
          <p:nvSpPr>
            <p:cNvPr id="40" name="TextBox 39">
              <a:extLst>
                <a:ext uri="{FF2B5EF4-FFF2-40B4-BE49-F238E27FC236}">
                  <a16:creationId xmlns:a16="http://schemas.microsoft.com/office/drawing/2014/main" id="{A5CA8192-3738-455F-9DE2-D1F92D670D9A}"/>
                </a:ext>
              </a:extLst>
            </p:cNvPr>
            <p:cNvSpPr txBox="1"/>
            <p:nvPr/>
          </p:nvSpPr>
          <p:spPr>
            <a:xfrm>
              <a:off x="584200" y="4119352"/>
              <a:ext cx="442429" cy="492443"/>
            </a:xfrm>
            <a:prstGeom prst="rect">
              <a:avLst/>
            </a:prstGeom>
            <a:noFill/>
          </p:spPr>
          <p:txBody>
            <a:bodyPr wrap="none" lIns="0" tIns="0" rIns="0" bIns="0" rtlCol="0" anchor="ctr">
              <a:spAutoFit/>
            </a:bodyPr>
            <a:lstStyle/>
            <a:p>
              <a:pPr algn="ctr" rtl="0"/>
              <a:r>
                <a:rPr lang="fr-fr" sz="3200" b="0" i="0" u="none" baseline="0">
                  <a:solidFill>
                    <a:schemeClr val="tx2"/>
                  </a:solidFill>
                </a:rPr>
                <a:t>03</a:t>
              </a:r>
              <a:endParaRPr lang="fr-fr" sz="3200" dirty="0" err="1">
                <a:solidFill>
                  <a:schemeClr val="tx2"/>
                </a:solidFill>
              </a:endParaRPr>
            </a:p>
          </p:txBody>
        </p:sp>
        <p:grpSp>
          <p:nvGrpSpPr>
            <p:cNvPr id="51" name="Group 50">
              <a:extLst>
                <a:ext uri="{FF2B5EF4-FFF2-40B4-BE49-F238E27FC236}">
                  <a16:creationId xmlns:a16="http://schemas.microsoft.com/office/drawing/2014/main" id="{30AD2AE6-8654-47FF-9ACF-F9F19A14D4FD}"/>
                </a:ext>
              </a:extLst>
            </p:cNvPr>
            <p:cNvGrpSpPr/>
            <p:nvPr/>
          </p:nvGrpSpPr>
          <p:grpSpPr>
            <a:xfrm>
              <a:off x="1283785" y="4057269"/>
              <a:ext cx="182880" cy="615553"/>
              <a:chOff x="6029365" y="592534"/>
              <a:chExt cx="182880" cy="615553"/>
            </a:xfrm>
          </p:grpSpPr>
          <p:cxnSp>
            <p:nvCxnSpPr>
              <p:cNvPr id="52" name="Straight Connector 51">
                <a:extLst>
                  <a:ext uri="{FF2B5EF4-FFF2-40B4-BE49-F238E27FC236}">
                    <a16:creationId xmlns:a16="http://schemas.microsoft.com/office/drawing/2014/main" id="{C81BD1BD-00F2-4220-8263-14CC2E0F1D0C}"/>
                  </a:ext>
                </a:extLst>
              </p:cNvPr>
              <p:cNvCxnSpPr>
                <a:cxnSpLocks/>
              </p:cNvCxnSpPr>
              <p:nvPr/>
            </p:nvCxnSpPr>
            <p:spPr>
              <a:xfrm>
                <a:off x="6120805" y="592534"/>
                <a:ext cx="0" cy="615553"/>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3B70BE51-DA5B-42C4-83E0-B773C6D93EFF}"/>
                  </a:ext>
                </a:extLst>
              </p:cNvPr>
              <p:cNvSpPr>
                <a:spLocks noChangeAspect="1"/>
              </p:cNvSpPr>
              <p:nvPr/>
            </p:nvSpPr>
            <p:spPr bwMode="auto">
              <a:xfrm>
                <a:off x="6029365" y="808870"/>
                <a:ext cx="182880" cy="18288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chemeClr val="bg1"/>
                  </a:solidFill>
                  <a:ea typeface="Segoe UI" pitchFamily="34" charset="0"/>
                  <a:cs typeface="Segoe UI" pitchFamily="34" charset="0"/>
                </a:endParaRPr>
              </a:p>
            </p:txBody>
          </p:sp>
        </p:grpSp>
        <p:sp>
          <p:nvSpPr>
            <p:cNvPr id="68" name="Text Placeholder 3 - 2">
              <a:extLst>
                <a:ext uri="{FF2B5EF4-FFF2-40B4-BE49-F238E27FC236}">
                  <a16:creationId xmlns:a16="http://schemas.microsoft.com/office/drawing/2014/main" id="{A77844F8-888D-43E8-AC7B-F1471E552DFB}"/>
                </a:ext>
              </a:extLst>
            </p:cNvPr>
            <p:cNvSpPr txBox="1">
              <a:spLocks/>
            </p:cNvSpPr>
            <p:nvPr/>
          </p:nvSpPr>
          <p:spPr>
            <a:xfrm>
              <a:off x="1759156" y="4211687"/>
              <a:ext cx="3992311" cy="307777"/>
            </a:xfrm>
            <a:prstGeom prst="rect">
              <a:avLst/>
            </a:prstGeom>
          </p:spPr>
          <p:txBody>
            <a:bodyPr vert="horz" wrap="non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defTabSz="914191" rtl="0">
                <a:spcBef>
                  <a:spcPts val="1176"/>
                </a:spcBef>
                <a:spcAft>
                  <a:spcPts val="587"/>
                </a:spcAft>
                <a:buNone/>
                <a:defRPr/>
              </a:pPr>
              <a:r>
                <a:rPr lang="fr-fr" sz="2000" b="0" i="0" u="none" baseline="0">
                  <a:cs typeface="Segoe UI Semibold"/>
                </a:rPr>
                <a:t>Optimiser les processus pour réduire les coûts</a:t>
              </a:r>
            </a:p>
          </p:txBody>
        </p:sp>
        <p:cxnSp>
          <p:nvCxnSpPr>
            <p:cNvPr id="77" name="Straight Connector 76">
              <a:extLst>
                <a:ext uri="{FF2B5EF4-FFF2-40B4-BE49-F238E27FC236}">
                  <a16:creationId xmlns:a16="http://schemas.microsoft.com/office/drawing/2014/main" id="{06F24CC1-5875-4A1D-8093-237E64EBC682}"/>
                </a:ext>
              </a:extLst>
            </p:cNvPr>
            <p:cNvCxnSpPr>
              <a:cxnSpLocks/>
            </p:cNvCxnSpPr>
            <p:nvPr/>
          </p:nvCxnSpPr>
          <p:spPr>
            <a:xfrm>
              <a:off x="1759155" y="3742325"/>
              <a:ext cx="621778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8065BA80-0F64-4DA0-9C36-97202B4D628E}"/>
              </a:ext>
            </a:extLst>
          </p:cNvPr>
          <p:cNvGrpSpPr/>
          <p:nvPr/>
        </p:nvGrpSpPr>
        <p:grpSpPr>
          <a:xfrm>
            <a:off x="584200" y="4988826"/>
            <a:ext cx="7392736" cy="931025"/>
            <a:chOff x="584200" y="4988826"/>
            <a:chExt cx="7392736" cy="931025"/>
          </a:xfrm>
        </p:grpSpPr>
        <p:sp>
          <p:nvSpPr>
            <p:cNvPr id="41" name="TextBox 40">
              <a:extLst>
                <a:ext uri="{FF2B5EF4-FFF2-40B4-BE49-F238E27FC236}">
                  <a16:creationId xmlns:a16="http://schemas.microsoft.com/office/drawing/2014/main" id="{72CCFAFD-2C48-411E-92AF-0DE70CA97CE9}"/>
                </a:ext>
              </a:extLst>
            </p:cNvPr>
            <p:cNvSpPr txBox="1"/>
            <p:nvPr/>
          </p:nvSpPr>
          <p:spPr>
            <a:xfrm>
              <a:off x="584200" y="5365853"/>
              <a:ext cx="442429" cy="492443"/>
            </a:xfrm>
            <a:prstGeom prst="rect">
              <a:avLst/>
            </a:prstGeom>
            <a:noFill/>
          </p:spPr>
          <p:txBody>
            <a:bodyPr wrap="none" lIns="0" tIns="0" rIns="0" bIns="0" rtlCol="0" anchor="ctr">
              <a:spAutoFit/>
            </a:bodyPr>
            <a:lstStyle/>
            <a:p>
              <a:pPr algn="ctr" rtl="0"/>
              <a:r>
                <a:rPr lang="fr-fr" sz="3200" b="0" i="0" u="none" baseline="0">
                  <a:solidFill>
                    <a:schemeClr val="tx2"/>
                  </a:solidFill>
                </a:rPr>
                <a:t>04</a:t>
              </a:r>
              <a:endParaRPr lang="fr-fr" sz="3200" dirty="0" err="1">
                <a:solidFill>
                  <a:schemeClr val="tx2"/>
                </a:solidFill>
              </a:endParaRPr>
            </a:p>
          </p:txBody>
        </p:sp>
        <p:grpSp>
          <p:nvGrpSpPr>
            <p:cNvPr id="54" name="Group 53">
              <a:extLst>
                <a:ext uri="{FF2B5EF4-FFF2-40B4-BE49-F238E27FC236}">
                  <a16:creationId xmlns:a16="http://schemas.microsoft.com/office/drawing/2014/main" id="{9DFEF295-A9AD-441C-8B1D-998AFB70DD4E}"/>
                </a:ext>
              </a:extLst>
            </p:cNvPr>
            <p:cNvGrpSpPr/>
            <p:nvPr/>
          </p:nvGrpSpPr>
          <p:grpSpPr>
            <a:xfrm>
              <a:off x="1283785" y="5303506"/>
              <a:ext cx="182880" cy="615553"/>
              <a:chOff x="6029365" y="592534"/>
              <a:chExt cx="182880" cy="615553"/>
            </a:xfrm>
          </p:grpSpPr>
          <p:cxnSp>
            <p:nvCxnSpPr>
              <p:cNvPr id="55" name="Straight Connector 54">
                <a:extLst>
                  <a:ext uri="{FF2B5EF4-FFF2-40B4-BE49-F238E27FC236}">
                    <a16:creationId xmlns:a16="http://schemas.microsoft.com/office/drawing/2014/main" id="{2A285D7F-867C-44A4-BF3D-FE3D5B5AF365}"/>
                  </a:ext>
                </a:extLst>
              </p:cNvPr>
              <p:cNvCxnSpPr>
                <a:cxnSpLocks/>
              </p:cNvCxnSpPr>
              <p:nvPr/>
            </p:nvCxnSpPr>
            <p:spPr>
              <a:xfrm>
                <a:off x="6120805" y="592534"/>
                <a:ext cx="0" cy="615553"/>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364A9CE7-E1DB-4D01-8BB9-52F1F9D6CDF5}"/>
                  </a:ext>
                </a:extLst>
              </p:cNvPr>
              <p:cNvSpPr>
                <a:spLocks noChangeAspect="1"/>
              </p:cNvSpPr>
              <p:nvPr/>
            </p:nvSpPr>
            <p:spPr bwMode="auto">
              <a:xfrm>
                <a:off x="6029365" y="808870"/>
                <a:ext cx="182880" cy="18288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chemeClr val="bg1"/>
                  </a:solidFill>
                  <a:ea typeface="Segoe UI" pitchFamily="34" charset="0"/>
                  <a:cs typeface="Segoe UI" pitchFamily="34" charset="0"/>
                </a:endParaRPr>
              </a:p>
            </p:txBody>
          </p:sp>
        </p:grpSp>
        <p:sp>
          <p:nvSpPr>
            <p:cNvPr id="69" name="Text Placeholder 3 - 3">
              <a:extLst>
                <a:ext uri="{FF2B5EF4-FFF2-40B4-BE49-F238E27FC236}">
                  <a16:creationId xmlns:a16="http://schemas.microsoft.com/office/drawing/2014/main" id="{5BCB913A-6560-431B-A93D-B09C8F7056E2}"/>
                </a:ext>
              </a:extLst>
            </p:cNvPr>
            <p:cNvSpPr txBox="1">
              <a:spLocks/>
            </p:cNvSpPr>
            <p:nvPr/>
          </p:nvSpPr>
          <p:spPr>
            <a:xfrm>
              <a:off x="1759155" y="5304298"/>
              <a:ext cx="5916697" cy="615553"/>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91">
                <a:spcBef>
                  <a:spcPts val="1176"/>
                </a:spcBef>
                <a:spcAft>
                  <a:spcPts val="587"/>
                </a:spcAft>
                <a:buNone/>
                <a:defRPr/>
              </a:pPr>
              <a:r>
                <a:rPr lang="fr-fr" sz="2000" b="0" i="0" u="none" baseline="0" dirty="0">
                  <a:cs typeface="Segoe UI Semibold"/>
                </a:rPr>
                <a:t>Aider </a:t>
              </a:r>
              <a:r>
                <a:rPr lang="fr-FR" sz="2000" dirty="0">
                  <a:cs typeface="Segoe UI Semibold"/>
                </a:rPr>
                <a:t>vos</a:t>
              </a:r>
              <a:r>
                <a:rPr lang="fr-fr" sz="2000" b="0" i="0" u="none" baseline="0" dirty="0">
                  <a:cs typeface="Segoe UI Semibold"/>
                </a:rPr>
                <a:t> équipes à s</a:t>
              </a:r>
              <a:r>
                <a:rPr lang="fr-FR" sz="2000" b="0" i="0" u="none" baseline="0" dirty="0">
                  <a:cs typeface="Segoe UI Semibold"/>
                </a:rPr>
                <a:t>’</a:t>
              </a:r>
              <a:r>
                <a:rPr lang="fr-fr" sz="2000" b="0" i="0" u="none" baseline="0" dirty="0">
                  <a:cs typeface="Segoe UI Semibold"/>
                </a:rPr>
                <a:t>adapter à des </a:t>
              </a:r>
              <a:br>
                <a:rPr lang="fr-fr" sz="2000" dirty="0">
                  <a:cs typeface="Segoe UI Semibold"/>
                </a:rPr>
              </a:br>
              <a:r>
                <a:rPr lang="fr-fr" sz="2000" b="0" i="0" u="none" baseline="0" dirty="0">
                  <a:cs typeface="Segoe UI Semibold"/>
                </a:rPr>
                <a:t>environnements en constante évolution</a:t>
              </a:r>
            </a:p>
          </p:txBody>
        </p:sp>
        <p:cxnSp>
          <p:nvCxnSpPr>
            <p:cNvPr id="78" name="Straight Connector 77">
              <a:extLst>
                <a:ext uri="{FF2B5EF4-FFF2-40B4-BE49-F238E27FC236}">
                  <a16:creationId xmlns:a16="http://schemas.microsoft.com/office/drawing/2014/main" id="{1D7A0B58-C7BE-47AE-8CAD-002918EA21EA}"/>
                </a:ext>
              </a:extLst>
            </p:cNvPr>
            <p:cNvCxnSpPr>
              <a:cxnSpLocks/>
            </p:cNvCxnSpPr>
            <p:nvPr/>
          </p:nvCxnSpPr>
          <p:spPr>
            <a:xfrm>
              <a:off x="1759155" y="4988826"/>
              <a:ext cx="621778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12090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80"/>
                                        </p:tgtEl>
                                        <p:attrNameLst>
                                          <p:attrName>style.visibility</p:attrName>
                                        </p:attrNameLst>
                                      </p:cBhvr>
                                      <p:to>
                                        <p:strVal val="visible"/>
                                      </p:to>
                                    </p:set>
                                    <p:animEffect transition="in" filter="fade">
                                      <p:cBhvr>
                                        <p:cTn id="19" dur="10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4DD5277-A5C9-4D1B-8BC8-094D60BD371D}"/>
              </a:ext>
            </a:extLst>
          </p:cNvPr>
          <p:cNvSpPr/>
          <p:nvPr/>
        </p:nvSpPr>
        <p:spPr bwMode="auto">
          <a:xfrm>
            <a:off x="9459057" y="1053339"/>
            <a:ext cx="917662" cy="52712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07D6A9FA-026E-48AC-9143-571F90E4A0DE}"/>
              </a:ext>
            </a:extLst>
          </p:cNvPr>
          <p:cNvSpPr/>
          <p:nvPr/>
        </p:nvSpPr>
        <p:spPr bwMode="auto">
          <a:xfrm>
            <a:off x="11838725" y="2897086"/>
            <a:ext cx="597750" cy="12003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1FBD3B07-8AA5-4475-AD8A-58699CE499D7}"/>
              </a:ext>
            </a:extLst>
          </p:cNvPr>
          <p:cNvSpPr/>
          <p:nvPr/>
        </p:nvSpPr>
        <p:spPr bwMode="auto">
          <a:xfrm>
            <a:off x="1" y="0"/>
            <a:ext cx="917662" cy="69945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0549FAB-2294-4A9D-8B09-2424EAE0B6AA}"/>
              </a:ext>
            </a:extLst>
          </p:cNvPr>
          <p:cNvSpPr>
            <a:spLocks noGrp="1"/>
          </p:cNvSpPr>
          <p:nvPr>
            <p:ph type="title"/>
          </p:nvPr>
        </p:nvSpPr>
        <p:spPr>
          <a:xfrm>
            <a:off x="1030147" y="466301"/>
            <a:ext cx="10808578" cy="565027"/>
          </a:xfrm>
        </p:spPr>
        <p:txBody>
          <a:bodyPr/>
          <a:lstStyle/>
          <a:p>
            <a:r>
              <a:rPr lang="fr-fr" sz="3650" b="0" i="0" u="none" baseline="0" dirty="0">
                <a:cs typeface="Segoe UI"/>
              </a:rPr>
              <a:t>Faire mieux ensemble</a:t>
            </a:r>
            <a:r>
              <a:rPr lang="fr-fr" sz="3650" dirty="0">
                <a:cs typeface="Segoe UI"/>
              </a:rPr>
              <a:t> </a:t>
            </a:r>
            <a:endParaRPr lang="fr-fr" sz="3650"/>
          </a:p>
        </p:txBody>
      </p:sp>
      <p:cxnSp>
        <p:nvCxnSpPr>
          <p:cNvPr id="5" name="Straight Connector 4">
            <a:extLst>
              <a:ext uri="{FF2B5EF4-FFF2-40B4-BE49-F238E27FC236}">
                <a16:creationId xmlns:a16="http://schemas.microsoft.com/office/drawing/2014/main" id="{D8AFA066-A52B-4D80-922B-C51352D50C79}"/>
              </a:ext>
            </a:extLst>
          </p:cNvPr>
          <p:cNvCxnSpPr>
            <a:cxnSpLocks/>
            <a:stCxn id="6" idx="4"/>
            <a:endCxn id="10" idx="0"/>
          </p:cNvCxnSpPr>
          <p:nvPr/>
        </p:nvCxnSpPr>
        <p:spPr>
          <a:xfrm>
            <a:off x="917663" y="2528391"/>
            <a:ext cx="0" cy="2292715"/>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EE7F752D-9214-4647-B2B8-3A5304ACE6D8}"/>
              </a:ext>
            </a:extLst>
          </p:cNvPr>
          <p:cNvSpPr/>
          <p:nvPr/>
        </p:nvSpPr>
        <p:spPr bwMode="auto">
          <a:xfrm>
            <a:off x="560499" y="1814064"/>
            <a:ext cx="714327" cy="71432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lvl="1" algn="ctr" defTabSz="932597" rtl="0">
              <a:defRPr/>
            </a:pPr>
            <a:endParaRPr lang="fr-fr" sz="2000" dirty="0">
              <a:solidFill>
                <a:schemeClr val="tx2"/>
              </a:solidFill>
              <a:latin typeface="+mj-lt"/>
              <a:cs typeface="Segoe UI Semibold"/>
            </a:endParaRPr>
          </a:p>
        </p:txBody>
      </p:sp>
      <p:sp>
        <p:nvSpPr>
          <p:cNvPr id="7" name="Rectangle 6">
            <a:extLst>
              <a:ext uri="{FF2B5EF4-FFF2-40B4-BE49-F238E27FC236}">
                <a16:creationId xmlns:a16="http://schemas.microsoft.com/office/drawing/2014/main" id="{D11A2C91-92BF-4BA1-97D9-C62BFA6C6FBA}"/>
              </a:ext>
            </a:extLst>
          </p:cNvPr>
          <p:cNvSpPr/>
          <p:nvPr/>
        </p:nvSpPr>
        <p:spPr>
          <a:xfrm>
            <a:off x="1467067" y="2017339"/>
            <a:ext cx="6407821" cy="307777"/>
          </a:xfrm>
          <a:prstGeom prst="rect">
            <a:avLst/>
          </a:prstGeom>
        </p:spPr>
        <p:txBody>
          <a:bodyPr wrap="square" lIns="0" tIns="0" rIns="0" bIns="0" anchor="ctr">
            <a:spAutoFit/>
          </a:bodyPr>
          <a:lstStyle/>
          <a:p>
            <a:r>
              <a:rPr lang="fr-fr" sz="2000" b="0" i="0" u="none" baseline="0" dirty="0">
                <a:cs typeface="Calibri"/>
              </a:rPr>
              <a:t>Augmentez la productivité des ventes de 15 %</a:t>
            </a:r>
            <a:r>
              <a:rPr lang="fr-fr" sz="2000" dirty="0">
                <a:cs typeface="Calibri"/>
              </a:rPr>
              <a:t> </a:t>
            </a:r>
            <a:endParaRPr lang="fr-fr" sz="2000" b="0" i="0" u="none" baseline="0" dirty="0">
              <a:cs typeface="Calibri"/>
            </a:endParaRPr>
          </a:p>
        </p:txBody>
      </p:sp>
      <p:sp>
        <p:nvSpPr>
          <p:cNvPr id="8" name="Oval 7">
            <a:extLst>
              <a:ext uri="{FF2B5EF4-FFF2-40B4-BE49-F238E27FC236}">
                <a16:creationId xmlns:a16="http://schemas.microsoft.com/office/drawing/2014/main" id="{B78E821E-C258-4C46-BF1D-E0769AEC4950}"/>
              </a:ext>
            </a:extLst>
          </p:cNvPr>
          <p:cNvSpPr/>
          <p:nvPr/>
        </p:nvSpPr>
        <p:spPr bwMode="auto">
          <a:xfrm>
            <a:off x="560499" y="3230038"/>
            <a:ext cx="714327" cy="71432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lvl="1" algn="ctr" defTabSz="932597" rtl="0">
              <a:defRPr/>
            </a:pPr>
            <a:endParaRPr lang="fr-fr" sz="2000" dirty="0">
              <a:solidFill>
                <a:schemeClr val="tx2"/>
              </a:solidFill>
              <a:latin typeface="+mj-lt"/>
              <a:cs typeface="Segoe UI Semibold"/>
            </a:endParaRPr>
          </a:p>
        </p:txBody>
      </p:sp>
      <p:sp>
        <p:nvSpPr>
          <p:cNvPr id="9" name="Rectangle 8">
            <a:extLst>
              <a:ext uri="{FF2B5EF4-FFF2-40B4-BE49-F238E27FC236}">
                <a16:creationId xmlns:a16="http://schemas.microsoft.com/office/drawing/2014/main" id="{58EC0274-0B11-4CD8-9025-1D197EEA6C78}"/>
              </a:ext>
            </a:extLst>
          </p:cNvPr>
          <p:cNvSpPr/>
          <p:nvPr/>
        </p:nvSpPr>
        <p:spPr>
          <a:xfrm>
            <a:off x="1467067" y="3433314"/>
            <a:ext cx="6407821" cy="307777"/>
          </a:xfrm>
          <a:prstGeom prst="rect">
            <a:avLst/>
          </a:prstGeom>
        </p:spPr>
        <p:txBody>
          <a:bodyPr wrap="square" lIns="0" tIns="0" rIns="0" bIns="0" anchor="ctr">
            <a:spAutoFit/>
          </a:bodyPr>
          <a:lstStyle/>
          <a:p>
            <a:pPr algn="l" rtl="0"/>
            <a:r>
              <a:rPr lang="fr-fr" sz="2000" b="0" i="0" u="none" baseline="0" dirty="0">
                <a:cs typeface="Calibri"/>
              </a:rPr>
              <a:t>Accélérez les délais de conclusion de la vente</a:t>
            </a:r>
          </a:p>
        </p:txBody>
      </p:sp>
      <p:sp>
        <p:nvSpPr>
          <p:cNvPr id="10" name="Oval 9">
            <a:extLst>
              <a:ext uri="{FF2B5EF4-FFF2-40B4-BE49-F238E27FC236}">
                <a16:creationId xmlns:a16="http://schemas.microsoft.com/office/drawing/2014/main" id="{B87E2844-6651-4AB9-BD68-A93DDB86A9BF}"/>
              </a:ext>
            </a:extLst>
          </p:cNvPr>
          <p:cNvSpPr/>
          <p:nvPr/>
        </p:nvSpPr>
        <p:spPr bwMode="auto">
          <a:xfrm>
            <a:off x="560499" y="4821106"/>
            <a:ext cx="714327" cy="71432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lvl="1" algn="ctr" defTabSz="932597" rtl="0">
              <a:defRPr/>
            </a:pPr>
            <a:endParaRPr lang="fr-fr" sz="2000" dirty="0">
              <a:solidFill>
                <a:schemeClr val="tx2"/>
              </a:solidFill>
              <a:latin typeface="+mj-lt"/>
              <a:cs typeface="Segoe UI Semibold"/>
            </a:endParaRPr>
          </a:p>
        </p:txBody>
      </p:sp>
      <p:sp>
        <p:nvSpPr>
          <p:cNvPr id="11" name="Rectangle 10">
            <a:extLst>
              <a:ext uri="{FF2B5EF4-FFF2-40B4-BE49-F238E27FC236}">
                <a16:creationId xmlns:a16="http://schemas.microsoft.com/office/drawing/2014/main" id="{7D33A5AE-78BE-480C-8300-AEED16C36870}"/>
              </a:ext>
            </a:extLst>
          </p:cNvPr>
          <p:cNvSpPr/>
          <p:nvPr/>
        </p:nvSpPr>
        <p:spPr>
          <a:xfrm>
            <a:off x="1467067" y="4547715"/>
            <a:ext cx="6407821" cy="1231106"/>
          </a:xfrm>
          <a:prstGeom prst="rect">
            <a:avLst/>
          </a:prstGeom>
        </p:spPr>
        <p:txBody>
          <a:bodyPr wrap="square" lIns="0" tIns="0" rIns="0" bIns="0" anchor="ctr">
            <a:spAutoFit/>
          </a:bodyPr>
          <a:lstStyle/>
          <a:p>
            <a:pPr algn="l" rtl="0"/>
            <a:r>
              <a:rPr lang="fr-fr" sz="2000" b="0" i="0" u="none" baseline="0" dirty="0">
                <a:cs typeface="Calibri"/>
              </a:rPr>
              <a:t>En résumé : Combinez Sales Navigator et Dynamics 365 pour que les processus de vente basés sur la relation client aident les vendeurs à conclure des contrats plus rapidement</a:t>
            </a:r>
          </a:p>
        </p:txBody>
      </p:sp>
      <p:cxnSp>
        <p:nvCxnSpPr>
          <p:cNvPr id="12" name="Straight Connector 11">
            <a:extLst>
              <a:ext uri="{FF2B5EF4-FFF2-40B4-BE49-F238E27FC236}">
                <a16:creationId xmlns:a16="http://schemas.microsoft.com/office/drawing/2014/main" id="{2052DEDB-244C-4641-B308-4FCE649AAADC}"/>
              </a:ext>
            </a:extLst>
          </p:cNvPr>
          <p:cNvCxnSpPr>
            <a:cxnSpLocks/>
          </p:cNvCxnSpPr>
          <p:nvPr/>
        </p:nvCxnSpPr>
        <p:spPr>
          <a:xfrm>
            <a:off x="1467067" y="2879214"/>
            <a:ext cx="6467361" cy="0"/>
          </a:xfrm>
          <a:prstGeom prst="line">
            <a:avLst/>
          </a:prstGeom>
          <a:ln w="3175">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0497A7B-8AF6-4014-A576-D149E88D17E6}"/>
              </a:ext>
            </a:extLst>
          </p:cNvPr>
          <p:cNvCxnSpPr>
            <a:cxnSpLocks/>
          </p:cNvCxnSpPr>
          <p:nvPr/>
        </p:nvCxnSpPr>
        <p:spPr>
          <a:xfrm>
            <a:off x="1467067" y="4295189"/>
            <a:ext cx="6467361" cy="0"/>
          </a:xfrm>
          <a:prstGeom prst="line">
            <a:avLst/>
          </a:prstGeom>
          <a:ln w="3175">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EA0871A6-4E7B-4D08-A1C3-CB3B2AD5538D}"/>
              </a:ext>
            </a:extLst>
          </p:cNvPr>
          <p:cNvGrpSpPr/>
          <p:nvPr/>
        </p:nvGrpSpPr>
        <p:grpSpPr>
          <a:xfrm>
            <a:off x="7994394" y="1191660"/>
            <a:ext cx="3846989" cy="4994608"/>
            <a:chOff x="7837489" y="1168400"/>
            <a:chExt cx="3771900" cy="4897119"/>
          </a:xfrm>
        </p:grpSpPr>
        <p:sp>
          <p:nvSpPr>
            <p:cNvPr id="14" name="Rectangle 13">
              <a:extLst>
                <a:ext uri="{FF2B5EF4-FFF2-40B4-BE49-F238E27FC236}">
                  <a16:creationId xmlns:a16="http://schemas.microsoft.com/office/drawing/2014/main" id="{AEBB1F95-261C-4C30-B8A6-0998B31CC442}"/>
                </a:ext>
              </a:extLst>
            </p:cNvPr>
            <p:cNvSpPr/>
            <p:nvPr/>
          </p:nvSpPr>
          <p:spPr bwMode="auto">
            <a:xfrm>
              <a:off x="7837489" y="1168400"/>
              <a:ext cx="3771900" cy="489711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7A377013-004C-4E7C-8575-74DF9BC6FF1E}"/>
                </a:ext>
              </a:extLst>
            </p:cNvPr>
            <p:cNvPicPr>
              <a:picLocks noChangeAspect="1"/>
            </p:cNvPicPr>
            <p:nvPr/>
          </p:nvPicPr>
          <p:blipFill>
            <a:blip r:embed="rId2"/>
            <a:stretch>
              <a:fillRect/>
            </a:stretch>
          </p:blipFill>
          <p:spPr>
            <a:xfrm>
              <a:off x="7896286" y="1229656"/>
              <a:ext cx="3654307" cy="4774606"/>
            </a:xfrm>
            <a:prstGeom prst="rect">
              <a:avLst/>
            </a:prstGeom>
          </p:spPr>
        </p:pic>
      </p:grpSp>
      <p:sp>
        <p:nvSpPr>
          <p:cNvPr id="18" name="arrow" title="Icon of an arrow">
            <a:extLst>
              <a:ext uri="{FF2B5EF4-FFF2-40B4-BE49-F238E27FC236}">
                <a16:creationId xmlns:a16="http://schemas.microsoft.com/office/drawing/2014/main" id="{AD309233-9C72-4717-B15F-B6352C2D5095}"/>
              </a:ext>
            </a:extLst>
          </p:cNvPr>
          <p:cNvSpPr>
            <a:spLocks noChangeAspect="1" noEditPoints="1"/>
          </p:cNvSpPr>
          <p:nvPr/>
        </p:nvSpPr>
        <p:spPr bwMode="auto">
          <a:xfrm>
            <a:off x="720353" y="1989157"/>
            <a:ext cx="394621" cy="36414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19" name="arrow" title="Icon of an arrow">
            <a:extLst>
              <a:ext uri="{FF2B5EF4-FFF2-40B4-BE49-F238E27FC236}">
                <a16:creationId xmlns:a16="http://schemas.microsoft.com/office/drawing/2014/main" id="{4AEC6EF0-55BF-4CFF-B246-FB8B0B3514CF}"/>
              </a:ext>
            </a:extLst>
          </p:cNvPr>
          <p:cNvSpPr>
            <a:spLocks noChangeAspect="1" noEditPoints="1"/>
          </p:cNvSpPr>
          <p:nvPr/>
        </p:nvSpPr>
        <p:spPr bwMode="auto">
          <a:xfrm>
            <a:off x="720353" y="3405132"/>
            <a:ext cx="394621" cy="36414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20" name="arrow" title="Icon of an arrow">
            <a:extLst>
              <a:ext uri="{FF2B5EF4-FFF2-40B4-BE49-F238E27FC236}">
                <a16:creationId xmlns:a16="http://schemas.microsoft.com/office/drawing/2014/main" id="{1B46BFFA-D1AE-4586-8D81-EC86302D02F8}"/>
              </a:ext>
            </a:extLst>
          </p:cNvPr>
          <p:cNvSpPr>
            <a:spLocks noChangeAspect="1" noEditPoints="1"/>
          </p:cNvSpPr>
          <p:nvPr/>
        </p:nvSpPr>
        <p:spPr bwMode="auto">
          <a:xfrm>
            <a:off x="720353" y="4981197"/>
            <a:ext cx="394621" cy="36414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Tree>
    <p:extLst>
      <p:ext uri="{BB962C8B-B14F-4D97-AF65-F5344CB8AC3E}">
        <p14:creationId xmlns:p14="http://schemas.microsoft.com/office/powerpoint/2010/main" val="230170770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pPr algn="l" rtl="0"/>
            <a:r>
              <a:rPr lang="fr-fr" sz="3650" b="0" i="0" u="none" spc="0" baseline="0" dirty="0">
                <a:cs typeface="Segoe UI"/>
              </a:rPr>
              <a:t>En savoir plus sur Microsoft Relationship Sales</a:t>
            </a:r>
            <a:endParaRPr lang="fr-fr" sz="3650" dirty="0">
              <a:gradFill>
                <a:gsLst>
                  <a:gs pos="83000">
                    <a:schemeClr val="tx2"/>
                  </a:gs>
                  <a:gs pos="99000">
                    <a:schemeClr val="tx2"/>
                  </a:gs>
                </a:gsLst>
                <a:lin ang="5400000" scaled="1"/>
              </a:gradFill>
              <a:latin typeface="+mn-lt"/>
              <a:cs typeface="Segoe UI"/>
            </a:endParaRPr>
          </a:p>
        </p:txBody>
      </p:sp>
      <p:pic>
        <p:nvPicPr>
          <p:cNvPr id="15" name="Picture 14" descr="A group of people sitting in front of a window&#10;&#10;Description automatically generated">
            <a:extLst>
              <a:ext uri="{FF2B5EF4-FFF2-40B4-BE49-F238E27FC236}">
                <a16:creationId xmlns:a16="http://schemas.microsoft.com/office/drawing/2014/main" id="{53268577-0894-4867-B07C-5D5172073D20}"/>
              </a:ext>
            </a:extLst>
          </p:cNvPr>
          <p:cNvPicPr>
            <a:picLocks noChangeAspect="1"/>
          </p:cNvPicPr>
          <p:nvPr/>
        </p:nvPicPr>
        <p:blipFill rotWithShape="1">
          <a:blip r:embed="rId3"/>
          <a:srcRect l="395" t="68752" r="104" b="1918"/>
          <a:stretch/>
        </p:blipFill>
        <p:spPr>
          <a:xfrm>
            <a:off x="0" y="1903026"/>
            <a:ext cx="11836416" cy="2326072"/>
          </a:xfrm>
          <a:custGeom>
            <a:avLst/>
            <a:gdLst>
              <a:gd name="connsiteX0" fmla="*/ 0 w 11836416"/>
              <a:gd name="connsiteY0" fmla="*/ 0 h 2326072"/>
              <a:gd name="connsiteX1" fmla="*/ 11739012 w 11836416"/>
              <a:gd name="connsiteY1" fmla="*/ 0 h 2326072"/>
              <a:gd name="connsiteX2" fmla="*/ 11836416 w 11836416"/>
              <a:gd name="connsiteY2" fmla="*/ 96380 h 2326072"/>
              <a:gd name="connsiteX3" fmla="*/ 11836416 w 11836416"/>
              <a:gd name="connsiteY3" fmla="*/ 617240 h 2326072"/>
              <a:gd name="connsiteX4" fmla="*/ 11836416 w 11836416"/>
              <a:gd name="connsiteY4" fmla="*/ 1805212 h 2326072"/>
              <a:gd name="connsiteX5" fmla="*/ 11836416 w 11836416"/>
              <a:gd name="connsiteY5" fmla="*/ 2326072 h 2326072"/>
              <a:gd name="connsiteX6" fmla="*/ 0 w 11836416"/>
              <a:gd name="connsiteY6" fmla="*/ 2326072 h 2326072"/>
              <a:gd name="connsiteX7" fmla="*/ 0 w 11836416"/>
              <a:gd name="connsiteY7" fmla="*/ 1805212 h 2326072"/>
              <a:gd name="connsiteX8" fmla="*/ 0 w 11836416"/>
              <a:gd name="connsiteY8" fmla="*/ 520860 h 232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36416" h="2326072">
                <a:moveTo>
                  <a:pt x="0" y="0"/>
                </a:moveTo>
                <a:lnTo>
                  <a:pt x="11739012" y="0"/>
                </a:lnTo>
                <a:cubicBezTo>
                  <a:pt x="11792806" y="0"/>
                  <a:pt x="11836416" y="43151"/>
                  <a:pt x="11836416" y="96380"/>
                </a:cubicBezTo>
                <a:lnTo>
                  <a:pt x="11836416" y="617240"/>
                </a:lnTo>
                <a:lnTo>
                  <a:pt x="11836416" y="1805212"/>
                </a:lnTo>
                <a:lnTo>
                  <a:pt x="11836416" y="2326072"/>
                </a:lnTo>
                <a:lnTo>
                  <a:pt x="0" y="2326072"/>
                </a:lnTo>
                <a:lnTo>
                  <a:pt x="0" y="1805212"/>
                </a:lnTo>
                <a:lnTo>
                  <a:pt x="0" y="520860"/>
                </a:lnTo>
                <a:close/>
              </a:path>
            </a:pathLst>
          </a:custGeom>
        </p:spPr>
      </p:pic>
      <p:grpSp>
        <p:nvGrpSpPr>
          <p:cNvPr id="17" name="Group 16">
            <a:extLst>
              <a:ext uri="{FF2B5EF4-FFF2-40B4-BE49-F238E27FC236}">
                <a16:creationId xmlns:a16="http://schemas.microsoft.com/office/drawing/2014/main" id="{A88288A2-7EEF-40DD-BED4-48BE82740A6F}"/>
              </a:ext>
            </a:extLst>
          </p:cNvPr>
          <p:cNvGrpSpPr/>
          <p:nvPr/>
        </p:nvGrpSpPr>
        <p:grpSpPr>
          <a:xfrm>
            <a:off x="587603" y="1168396"/>
            <a:ext cx="11174185" cy="5826130"/>
            <a:chOff x="587603" y="1168396"/>
            <a:chExt cx="11174185" cy="5826130"/>
          </a:xfrm>
        </p:grpSpPr>
        <p:sp>
          <p:nvSpPr>
            <p:cNvPr id="18" name="Arrow: Bent 17">
              <a:extLst>
                <a:ext uri="{FF2B5EF4-FFF2-40B4-BE49-F238E27FC236}">
                  <a16:creationId xmlns:a16="http://schemas.microsoft.com/office/drawing/2014/main" id="{1C13A87A-F7E0-412D-B10D-6EE2CC484D1A}"/>
                </a:ext>
              </a:extLst>
            </p:cNvPr>
            <p:cNvSpPr/>
            <p:nvPr/>
          </p:nvSpPr>
          <p:spPr bwMode="auto">
            <a:xfrm rot="5400000" flipH="1" flipV="1">
              <a:off x="4499088" y="-2743089"/>
              <a:ext cx="660403" cy="8483373"/>
            </a:xfrm>
            <a:prstGeom prst="bentArrow">
              <a:avLst>
                <a:gd name="adj1" fmla="val 25000"/>
                <a:gd name="adj2" fmla="val 0"/>
                <a:gd name="adj3" fmla="val 25000"/>
                <a:gd name="adj4" fmla="val 8055"/>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9" name="Arrow: Bent 18">
              <a:extLst>
                <a:ext uri="{FF2B5EF4-FFF2-40B4-BE49-F238E27FC236}">
                  <a16:creationId xmlns:a16="http://schemas.microsoft.com/office/drawing/2014/main" id="{8976ED8A-3253-48D7-A4BE-4582D6C9D56F}"/>
                </a:ext>
              </a:extLst>
            </p:cNvPr>
            <p:cNvSpPr/>
            <p:nvPr/>
          </p:nvSpPr>
          <p:spPr bwMode="auto">
            <a:xfrm rot="5400000">
              <a:off x="7749381" y="2982120"/>
              <a:ext cx="5165725" cy="2859088"/>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21" name="Rectangle 20">
            <a:extLst>
              <a:ext uri="{FF2B5EF4-FFF2-40B4-BE49-F238E27FC236}">
                <a16:creationId xmlns:a16="http://schemas.microsoft.com/office/drawing/2014/main" id="{DC7897E7-2D2F-4392-9912-F49673C90B76}"/>
              </a:ext>
            </a:extLst>
          </p:cNvPr>
          <p:cNvSpPr/>
          <p:nvPr/>
        </p:nvSpPr>
        <p:spPr bwMode="auto">
          <a:xfrm>
            <a:off x="600059" y="3556000"/>
            <a:ext cx="3606410"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defTabSz="932563">
              <a:defRPr/>
            </a:pPr>
            <a:r>
              <a:rPr lang="fr-fr" sz="2300" b="0" i="0" u="none" baseline="0" dirty="0">
                <a:solidFill>
                  <a:schemeClr val="tx1"/>
                </a:solidFill>
                <a:cs typeface="Segoe UI"/>
              </a:rPr>
              <a:t>Rendez-vous sur le </a:t>
            </a:r>
            <a:br>
              <a:rPr lang="fr-fr" sz="2300" b="0" i="0" u="none" baseline="0" dirty="0">
                <a:solidFill>
                  <a:schemeClr val="tx1"/>
                </a:solidFill>
                <a:cs typeface="Segoe UI"/>
              </a:rPr>
            </a:br>
            <a:r>
              <a:rPr lang="fr-fr" sz="2300" b="0" i="0" u="none" baseline="0" dirty="0">
                <a:solidFill>
                  <a:schemeClr val="tx2"/>
                </a:solidFill>
                <a:cs typeface="Segoe UI"/>
                <a:hlinkClick r:id="rId4">
                  <a:extLst>
                    <a:ext uri="{A12FA001-AC4F-418D-AE19-62706E023703}">
                      <ahyp:hlinkClr xmlns:ahyp="http://schemas.microsoft.com/office/drawing/2018/hyperlinkcolor" val="tx"/>
                    </a:ext>
                  </a:extLst>
                </a:hlinkClick>
              </a:rPr>
              <a:t>site Web</a:t>
            </a:r>
            <a:r>
              <a:rPr lang="fr-fr" sz="2300" dirty="0">
                <a:solidFill>
                  <a:schemeClr val="tx2"/>
                </a:solidFill>
                <a:cs typeface="Segoe UI"/>
              </a:rPr>
              <a:t> </a:t>
            </a:r>
            <a:endParaRPr lang="fr-fr" sz="2300" b="0" i="0" u="none" baseline="0" dirty="0">
              <a:solidFill>
                <a:schemeClr val="tx2"/>
              </a:solidFill>
              <a:cs typeface="Segoe UI"/>
            </a:endParaRPr>
          </a:p>
        </p:txBody>
      </p:sp>
      <p:sp>
        <p:nvSpPr>
          <p:cNvPr id="22" name="Rectangle 21">
            <a:extLst>
              <a:ext uri="{FF2B5EF4-FFF2-40B4-BE49-F238E27FC236}">
                <a16:creationId xmlns:a16="http://schemas.microsoft.com/office/drawing/2014/main" id="{26ADA8DE-7ECC-4E50-A4C6-7420336CD3ED}"/>
              </a:ext>
            </a:extLst>
          </p:cNvPr>
          <p:cNvSpPr/>
          <p:nvPr/>
        </p:nvSpPr>
        <p:spPr bwMode="auto">
          <a:xfrm>
            <a:off x="4352795" y="3556000"/>
            <a:ext cx="3606410"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lvl="0" defTabSz="932563">
              <a:defRPr/>
            </a:pPr>
            <a:r>
              <a:rPr lang="en-US" sz="2300" dirty="0" err="1">
                <a:solidFill>
                  <a:schemeClr val="tx1"/>
                </a:solidFill>
                <a:cs typeface="Segoe UI"/>
              </a:rPr>
              <a:t>Regardez</a:t>
            </a:r>
            <a:r>
              <a:rPr lang="fr-fr" sz="2300" dirty="0">
                <a:solidFill>
                  <a:schemeClr val="tx1"/>
                </a:solidFill>
                <a:cs typeface="Segoe UI"/>
              </a:rPr>
              <a:t> </a:t>
            </a:r>
            <a:r>
              <a:rPr lang="fr-fr" sz="2300" b="0" i="0" u="none" baseline="0" dirty="0">
                <a:solidFill>
                  <a:schemeClr val="tx1"/>
                </a:solidFill>
                <a:cs typeface="Segoe UI"/>
              </a:rPr>
              <a:t>les </a:t>
            </a:r>
            <a:r>
              <a:rPr lang="fr-fr" sz="2300" b="0" i="0" u="none" baseline="0" dirty="0">
                <a:solidFill>
                  <a:schemeClr val="tx2"/>
                </a:solidFill>
                <a:cs typeface="Segoe UI"/>
                <a:hlinkClick r:id="rId5">
                  <a:extLst>
                    <a:ext uri="{A12FA001-AC4F-418D-AE19-62706E023703}">
                      <ahyp:hlinkClr xmlns:ahyp="http://schemas.microsoft.com/office/drawing/2018/hyperlinkcolor" val="tx"/>
                    </a:ext>
                  </a:extLst>
                </a:hlinkClick>
              </a:rPr>
              <a:t>vidéos </a:t>
            </a:r>
            <a:br>
              <a:rPr lang="fr-fr" sz="2300" b="0" i="0" u="none" baseline="0" dirty="0">
                <a:solidFill>
                  <a:schemeClr val="tx2"/>
                </a:solidFill>
                <a:cs typeface="Segoe UI"/>
                <a:hlinkClick r:id="rId5">
                  <a:extLst>
                    <a:ext uri="{A12FA001-AC4F-418D-AE19-62706E023703}">
                      <ahyp:hlinkClr xmlns:ahyp="http://schemas.microsoft.com/office/drawing/2018/hyperlinkcolor" val="tx"/>
                    </a:ext>
                  </a:extLst>
                </a:hlinkClick>
              </a:rPr>
            </a:br>
            <a:r>
              <a:rPr lang="fr-fr" sz="2300" b="0" i="0" u="none" baseline="0" dirty="0">
                <a:solidFill>
                  <a:schemeClr val="tx2"/>
                </a:solidFill>
                <a:cs typeface="Segoe UI"/>
                <a:hlinkClick r:id="rId5">
                  <a:extLst>
                    <a:ext uri="{A12FA001-AC4F-418D-AE19-62706E023703}">
                      <ahyp:hlinkClr xmlns:ahyp="http://schemas.microsoft.com/office/drawing/2018/hyperlinkcolor" val="tx"/>
                    </a:ext>
                  </a:extLst>
                </a:hlinkClick>
              </a:rPr>
              <a:t>de démonstration</a:t>
            </a:r>
            <a:endParaRPr lang="fr-fr" sz="2300" dirty="0">
              <a:solidFill>
                <a:schemeClr val="tx2"/>
              </a:solidFill>
              <a:cs typeface="Segoe UI"/>
            </a:endParaRPr>
          </a:p>
        </p:txBody>
      </p:sp>
      <p:sp>
        <p:nvSpPr>
          <p:cNvPr id="23" name="Rectangle 22">
            <a:extLst>
              <a:ext uri="{FF2B5EF4-FFF2-40B4-BE49-F238E27FC236}">
                <a16:creationId xmlns:a16="http://schemas.microsoft.com/office/drawing/2014/main" id="{2699D566-E4B8-4F2A-9163-41A12A0400C6}"/>
              </a:ext>
            </a:extLst>
          </p:cNvPr>
          <p:cNvSpPr/>
          <p:nvPr/>
        </p:nvSpPr>
        <p:spPr bwMode="auto">
          <a:xfrm>
            <a:off x="8105530" y="3556000"/>
            <a:ext cx="3606410"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lvl="0" defTabSz="932563">
              <a:defRPr/>
            </a:pPr>
            <a:r>
              <a:rPr lang="fr-FR" sz="2300" dirty="0">
                <a:solidFill>
                  <a:schemeClr val="tx1"/>
                </a:solidFill>
                <a:cs typeface="Segoe UI"/>
              </a:rPr>
              <a:t>Découvrez les formations pour</a:t>
            </a:r>
            <a:r>
              <a:rPr lang="fr-fr" sz="2300" b="0" i="0" u="none" baseline="0" dirty="0">
                <a:solidFill>
                  <a:srgbClr val="FFFFFF"/>
                </a:solidFill>
                <a:cs typeface="Segoe UI"/>
              </a:rPr>
              <a:t> </a:t>
            </a:r>
            <a:r>
              <a:rPr lang="fr-FR" sz="2300" dirty="0">
                <a:solidFill>
                  <a:schemeClr val="tx2"/>
                </a:solidFill>
                <a:cs typeface="Segoe UI"/>
                <a:hlinkClick r:id="rId6">
                  <a:extLst>
                    <a:ext uri="{A12FA001-AC4F-418D-AE19-62706E023703}">
                      <ahyp:hlinkClr xmlns:ahyp="http://schemas.microsoft.com/office/drawing/2018/hyperlinkcolor" val="tx"/>
                    </a:ext>
                  </a:extLst>
                </a:hlinkClick>
              </a:rPr>
              <a:t>établir des relations</a:t>
            </a:r>
            <a:r>
              <a:rPr lang="fr-fr" sz="2300" b="0" i="0" u="none" baseline="0" dirty="0">
                <a:solidFill>
                  <a:schemeClr val="tx2"/>
                </a:solidFill>
                <a:cs typeface="Segoe UI"/>
              </a:rPr>
              <a:t> </a:t>
            </a:r>
            <a:r>
              <a:rPr lang="fr-fr" sz="2300" b="0" i="0" u="none" baseline="0" dirty="0">
                <a:solidFill>
                  <a:schemeClr val="tx1"/>
                </a:solidFill>
                <a:cs typeface="Segoe UI"/>
              </a:rPr>
              <a:t>en période d</a:t>
            </a:r>
            <a:r>
              <a:rPr lang="fr-FR" sz="2300" b="0" i="0" u="none" baseline="0" dirty="0">
                <a:solidFill>
                  <a:schemeClr val="tx1"/>
                </a:solidFill>
                <a:cs typeface="Segoe UI"/>
              </a:rPr>
              <a:t>’</a:t>
            </a:r>
            <a:r>
              <a:rPr lang="fr-fr" sz="2300" b="0" i="0" u="none" baseline="0" dirty="0">
                <a:solidFill>
                  <a:schemeClr val="tx1"/>
                </a:solidFill>
                <a:cs typeface="Segoe UI"/>
              </a:rPr>
              <a:t>incertitude</a:t>
            </a:r>
          </a:p>
        </p:txBody>
      </p:sp>
      <p:sp>
        <p:nvSpPr>
          <p:cNvPr id="25" name="Oval 24">
            <a:extLst>
              <a:ext uri="{FF2B5EF4-FFF2-40B4-BE49-F238E27FC236}">
                <a16:creationId xmlns:a16="http://schemas.microsoft.com/office/drawing/2014/main" id="{6F815BD4-F1EC-40F2-8545-B651FA933277}"/>
              </a:ext>
            </a:extLst>
          </p:cNvPr>
          <p:cNvSpPr/>
          <p:nvPr/>
        </p:nvSpPr>
        <p:spPr bwMode="auto">
          <a:xfrm>
            <a:off x="492790" y="1076837"/>
            <a:ext cx="185965" cy="18596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089187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grpId="0"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750"/>
                                        <p:tgtEl>
                                          <p:spTgt spid="22"/>
                                        </p:tgtEl>
                                      </p:cBhvr>
                                    </p:animEffect>
                                    <p:anim calcmode="lin" valueType="num">
                                      <p:cBhvr>
                                        <p:cTn id="14" dur="750" fill="hold"/>
                                        <p:tgtEl>
                                          <p:spTgt spid="22"/>
                                        </p:tgtEl>
                                        <p:attrNameLst>
                                          <p:attrName>ppt_x</p:attrName>
                                        </p:attrNameLst>
                                      </p:cBhvr>
                                      <p:tavLst>
                                        <p:tav tm="0">
                                          <p:val>
                                            <p:strVal val="#ppt_x"/>
                                          </p:val>
                                        </p:tav>
                                        <p:tav tm="100000">
                                          <p:val>
                                            <p:strVal val="#ppt_x"/>
                                          </p:val>
                                        </p:tav>
                                      </p:tavLst>
                                    </p:anim>
                                    <p:anim calcmode="lin" valueType="num">
                                      <p:cBhvr>
                                        <p:cTn id="15" dur="750" fill="hold"/>
                                        <p:tgtEl>
                                          <p:spTgt spid="22"/>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grpId="0"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750"/>
                                        <p:tgtEl>
                                          <p:spTgt spid="23"/>
                                        </p:tgtEl>
                                      </p:cBhvr>
                                    </p:animEffect>
                                    <p:anim calcmode="lin" valueType="num">
                                      <p:cBhvr>
                                        <p:cTn id="20" dur="750" fill="hold"/>
                                        <p:tgtEl>
                                          <p:spTgt spid="23"/>
                                        </p:tgtEl>
                                        <p:attrNameLst>
                                          <p:attrName>ppt_x</p:attrName>
                                        </p:attrNameLst>
                                      </p:cBhvr>
                                      <p:tavLst>
                                        <p:tav tm="0">
                                          <p:val>
                                            <p:strVal val="#ppt_x"/>
                                          </p:val>
                                        </p:tav>
                                        <p:tav tm="100000">
                                          <p:val>
                                            <p:strVal val="#ppt_x"/>
                                          </p:val>
                                        </p:tav>
                                      </p:tavLst>
                                    </p:anim>
                                    <p:anim calcmode="lin" valueType="num">
                                      <p:cBhvr>
                                        <p:cTn id="21" dur="75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1675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Shape 42">
            <a:extLst>
              <a:ext uri="{FF2B5EF4-FFF2-40B4-BE49-F238E27FC236}">
                <a16:creationId xmlns:a16="http://schemas.microsoft.com/office/drawing/2014/main" id="{3148AE56-EC4B-4973-83CC-8ACC48680C7C}"/>
              </a:ext>
            </a:extLst>
          </p:cNvPr>
          <p:cNvSpPr/>
          <p:nvPr/>
        </p:nvSpPr>
        <p:spPr bwMode="auto">
          <a:xfrm>
            <a:off x="0" y="2423886"/>
            <a:ext cx="11836416" cy="1805212"/>
          </a:xfrm>
          <a:custGeom>
            <a:avLst/>
            <a:gdLst>
              <a:gd name="connsiteX0" fmla="*/ 0 w 11711940"/>
              <a:gd name="connsiteY0" fmla="*/ 0 h 1805212"/>
              <a:gd name="connsiteX1" fmla="*/ 11615560 w 11711940"/>
              <a:gd name="connsiteY1" fmla="*/ 0 h 1805212"/>
              <a:gd name="connsiteX2" fmla="*/ 11711940 w 11711940"/>
              <a:gd name="connsiteY2" fmla="*/ 96380 h 1805212"/>
              <a:gd name="connsiteX3" fmla="*/ 11711940 w 11711940"/>
              <a:gd name="connsiteY3" fmla="*/ 1805212 h 1805212"/>
              <a:gd name="connsiteX4" fmla="*/ 0 w 11711940"/>
              <a:gd name="connsiteY4" fmla="*/ 1805212 h 180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1940" h="1805212">
                <a:moveTo>
                  <a:pt x="0" y="0"/>
                </a:moveTo>
                <a:lnTo>
                  <a:pt x="11615560" y="0"/>
                </a:lnTo>
                <a:cubicBezTo>
                  <a:pt x="11668789" y="0"/>
                  <a:pt x="11711940" y="43151"/>
                  <a:pt x="11711940" y="96380"/>
                </a:cubicBezTo>
                <a:lnTo>
                  <a:pt x="11711940" y="1805212"/>
                </a:lnTo>
                <a:lnTo>
                  <a:pt x="0" y="180521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37" name="Group 36">
            <a:extLst>
              <a:ext uri="{FF2B5EF4-FFF2-40B4-BE49-F238E27FC236}">
                <a16:creationId xmlns:a16="http://schemas.microsoft.com/office/drawing/2014/main" id="{1F1FE6BE-BE35-4B7D-8B68-4E2B6596A38B}"/>
              </a:ext>
            </a:extLst>
          </p:cNvPr>
          <p:cNvGrpSpPr/>
          <p:nvPr/>
        </p:nvGrpSpPr>
        <p:grpSpPr>
          <a:xfrm>
            <a:off x="587603" y="1168397"/>
            <a:ext cx="11174185" cy="5826128"/>
            <a:chOff x="587603" y="1168397"/>
            <a:chExt cx="11174185" cy="5826128"/>
          </a:xfrm>
        </p:grpSpPr>
        <p:sp>
          <p:nvSpPr>
            <p:cNvPr id="12" name="Arrow: Bent 11">
              <a:extLst>
                <a:ext uri="{FF2B5EF4-FFF2-40B4-BE49-F238E27FC236}">
                  <a16:creationId xmlns:a16="http://schemas.microsoft.com/office/drawing/2014/main" id="{E0D494F3-48FA-4F7A-969E-E1E5E06AEFB2}"/>
                </a:ext>
              </a:extLst>
            </p:cNvPr>
            <p:cNvSpPr/>
            <p:nvPr/>
          </p:nvSpPr>
          <p:spPr bwMode="auto">
            <a:xfrm rot="5400000" flipH="1" flipV="1">
              <a:off x="4235564" y="-2479564"/>
              <a:ext cx="1187451" cy="8483373"/>
            </a:xfrm>
            <a:prstGeom prst="bentArrow">
              <a:avLst>
                <a:gd name="adj1" fmla="val 25000"/>
                <a:gd name="adj2" fmla="val 0"/>
                <a:gd name="adj3" fmla="val 25000"/>
                <a:gd name="adj4" fmla="val 8055"/>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9" name="Arrow: Bent 28">
              <a:extLst>
                <a:ext uri="{FF2B5EF4-FFF2-40B4-BE49-F238E27FC236}">
                  <a16:creationId xmlns:a16="http://schemas.microsoft.com/office/drawing/2014/main" id="{07E21AD9-72DE-4681-AC95-41F797A46E2A}"/>
                </a:ext>
              </a:extLst>
            </p:cNvPr>
            <p:cNvSpPr/>
            <p:nvPr/>
          </p:nvSpPr>
          <p:spPr bwMode="auto">
            <a:xfrm rot="5400000">
              <a:off x="8012905" y="3245643"/>
              <a:ext cx="4638677" cy="2859088"/>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AD699C65-3B8A-49BC-8B88-3815BEAA13F9}"/>
              </a:ext>
            </a:extLst>
          </p:cNvPr>
          <p:cNvSpPr>
            <a:spLocks noGrp="1"/>
          </p:cNvSpPr>
          <p:nvPr>
            <p:ph type="title"/>
          </p:nvPr>
        </p:nvSpPr>
        <p:spPr/>
        <p:txBody>
          <a:bodyPr/>
          <a:lstStyle/>
          <a:p>
            <a:pPr algn="l" rtl="0"/>
            <a:r>
              <a:rPr lang="fr-fr" sz="3650" b="0" i="0" u="none" baseline="0" dirty="0">
                <a:solidFill>
                  <a:schemeClr val="tx2"/>
                </a:solidFill>
                <a:cs typeface="Segoe UI"/>
              </a:rPr>
              <a:t>1 | </a:t>
            </a:r>
            <a:r>
              <a:rPr lang="fr-fr" sz="3650" b="0" i="0" u="none" baseline="0" dirty="0">
                <a:cs typeface="Segoe UI"/>
              </a:rPr>
              <a:t>Guider et collaborer avec les clients à distance</a:t>
            </a:r>
          </a:p>
        </p:txBody>
      </p:sp>
      <p:grpSp>
        <p:nvGrpSpPr>
          <p:cNvPr id="44" name="Group 43">
            <a:extLst>
              <a:ext uri="{FF2B5EF4-FFF2-40B4-BE49-F238E27FC236}">
                <a16:creationId xmlns:a16="http://schemas.microsoft.com/office/drawing/2014/main" id="{05EE2D67-663C-4384-BDC1-7CDE3768CB8D}"/>
              </a:ext>
            </a:extLst>
          </p:cNvPr>
          <p:cNvGrpSpPr/>
          <p:nvPr/>
        </p:nvGrpSpPr>
        <p:grpSpPr>
          <a:xfrm>
            <a:off x="600059" y="3556000"/>
            <a:ext cx="11111881" cy="2725738"/>
            <a:chOff x="600059" y="3556000"/>
            <a:chExt cx="11161729" cy="2725738"/>
          </a:xfrm>
        </p:grpSpPr>
        <p:sp>
          <p:nvSpPr>
            <p:cNvPr id="23" name="Rectangle 22">
              <a:extLst>
                <a:ext uri="{FF2B5EF4-FFF2-40B4-BE49-F238E27FC236}">
                  <a16:creationId xmlns:a16="http://schemas.microsoft.com/office/drawing/2014/main" id="{FEBB921F-697D-4448-9539-C6C64BC5E159}"/>
                </a:ext>
              </a:extLst>
            </p:cNvPr>
            <p:cNvSpPr/>
            <p:nvPr/>
          </p:nvSpPr>
          <p:spPr bwMode="auto">
            <a:xfrm>
              <a:off x="600059"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fr-fr" sz="2000" b="0" i="0" u="none" baseline="0" dirty="0">
                  <a:solidFill>
                    <a:schemeClr val="tx1"/>
                  </a:solidFill>
                  <a:ea typeface="Segoe UI" pitchFamily="34" charset="0"/>
                  <a:cs typeface="Segoe UI Semibold"/>
                </a:rPr>
                <a:t>Restez </a:t>
              </a:r>
              <a:r>
                <a:rPr lang="fr-FR" sz="2000" dirty="0">
                  <a:solidFill>
                    <a:schemeClr val="tx1"/>
                  </a:solidFill>
                  <a:ea typeface="Segoe UI" pitchFamily="34" charset="0"/>
                  <a:cs typeface="Segoe UI Semibold"/>
                </a:rPr>
                <a:t>agiles</a:t>
              </a:r>
              <a:r>
                <a:rPr lang="fr-fr" sz="2000" b="0" i="0" u="none" baseline="0" dirty="0">
                  <a:solidFill>
                    <a:schemeClr val="tx1"/>
                  </a:solidFill>
                  <a:ea typeface="Segoe UI" pitchFamily="34" charset="0"/>
                  <a:cs typeface="Segoe UI Semibold"/>
                </a:rPr>
                <a:t> grâce aux </a:t>
              </a:r>
              <a:r>
                <a:rPr lang="fr-fr" sz="2000" b="0" i="0" u="none" baseline="0" dirty="0">
                  <a:solidFill>
                    <a:schemeClr val="tx2"/>
                  </a:solidFill>
                  <a:latin typeface="Segoe UI Semibold"/>
                  <a:ea typeface="Segoe UI" pitchFamily="34" charset="0"/>
                  <a:cs typeface="Segoe UI Semibold"/>
                </a:rPr>
                <a:t>activités/séquences priorisées par l</a:t>
              </a:r>
              <a:r>
                <a:rPr lang="fr-FR" sz="2000" b="0" i="0" u="none" baseline="0" dirty="0">
                  <a:solidFill>
                    <a:schemeClr val="tx2"/>
                  </a:solidFill>
                  <a:latin typeface="Segoe UI Semibold"/>
                  <a:ea typeface="Segoe UI" pitchFamily="34" charset="0"/>
                  <a:cs typeface="Segoe UI Semibold"/>
                </a:rPr>
                <a:t>’</a:t>
              </a:r>
              <a:r>
                <a:rPr lang="fr-fr" sz="2000" b="0" i="0" u="none" baseline="0" dirty="0">
                  <a:solidFill>
                    <a:schemeClr val="tx2"/>
                  </a:solidFill>
                  <a:latin typeface="Segoe UI Semibold"/>
                  <a:ea typeface="Segoe UI" pitchFamily="34" charset="0"/>
                  <a:cs typeface="Segoe UI Semibold"/>
                </a:rPr>
                <a:t>AI</a:t>
              </a:r>
              <a:r>
                <a:rPr lang="fr-fr" sz="2000" b="0" i="0" u="none" baseline="0" dirty="0">
                  <a:solidFill>
                    <a:schemeClr val="tx1"/>
                  </a:solidFill>
                  <a:ea typeface="Segoe UI" pitchFamily="34" charset="0"/>
                  <a:cs typeface="Segoe UI Semibold"/>
                </a:rPr>
                <a:t> et aux cadences de vente qui s</a:t>
              </a:r>
              <a:r>
                <a:rPr lang="fr-FR" sz="2000" b="0" i="0" u="none" baseline="0" dirty="0">
                  <a:solidFill>
                    <a:schemeClr val="tx1"/>
                  </a:solidFill>
                  <a:ea typeface="Segoe UI" pitchFamily="34" charset="0"/>
                  <a:cs typeface="Segoe UI Semibold"/>
                </a:rPr>
                <a:t>’</a:t>
              </a:r>
              <a:r>
                <a:rPr lang="fr-fr" sz="2000" b="0" i="0" u="none" baseline="0" dirty="0">
                  <a:solidFill>
                    <a:schemeClr val="tx1"/>
                  </a:solidFill>
                  <a:ea typeface="Segoe UI" pitchFamily="34" charset="0"/>
                  <a:cs typeface="Segoe UI Semibold"/>
                </a:rPr>
                <a:t>ajustent rapidement aux nouvelles directives </a:t>
              </a:r>
              <a:br>
                <a:rPr lang="fr-fr" sz="2000" b="0" i="0" u="none" baseline="0" dirty="0">
                  <a:ea typeface="Segoe UI" pitchFamily="34" charset="0"/>
                  <a:cs typeface="Segoe UI Semibold" panose="020B0702040204020203" pitchFamily="34" charset="0"/>
                </a:rPr>
              </a:br>
              <a:r>
                <a:rPr lang="fr-fr" sz="2000" b="0" i="0" u="none" baseline="0" dirty="0">
                  <a:solidFill>
                    <a:schemeClr val="tx1"/>
                  </a:solidFill>
                  <a:ea typeface="Segoe UI" pitchFamily="34" charset="0"/>
                  <a:cs typeface="Segoe UI Semibold"/>
                </a:rPr>
                <a:t>des entreprises</a:t>
              </a:r>
            </a:p>
          </p:txBody>
        </p:sp>
        <p:sp>
          <p:nvSpPr>
            <p:cNvPr id="27" name="Rectangle 26">
              <a:extLst>
                <a:ext uri="{FF2B5EF4-FFF2-40B4-BE49-F238E27FC236}">
                  <a16:creationId xmlns:a16="http://schemas.microsoft.com/office/drawing/2014/main" id="{2B2CEAAB-4F56-4F60-81EF-21DBA8F734CE}"/>
                </a:ext>
              </a:extLst>
            </p:cNvPr>
            <p:cNvSpPr/>
            <p:nvPr/>
          </p:nvSpPr>
          <p:spPr bwMode="auto">
            <a:xfrm>
              <a:off x="4369630"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000" b="0" i="0" u="none" baseline="0" dirty="0">
                  <a:solidFill>
                    <a:schemeClr val="tx1"/>
                  </a:solidFill>
                  <a:cs typeface="Segoe UI Semibold"/>
                </a:rPr>
                <a:t>Donnez vie à vos produits </a:t>
              </a:r>
              <a:br>
                <a:rPr lang="fr-fr" sz="2000" b="0" i="0" u="none" baseline="0" dirty="0">
                  <a:cs typeface="Segoe UI Semibold" panose="020B0702040204020203" pitchFamily="34" charset="0"/>
                </a:rPr>
              </a:br>
              <a:r>
                <a:rPr lang="fr-fr" sz="2000" b="0" i="0" u="none" baseline="0" dirty="0">
                  <a:solidFill>
                    <a:schemeClr val="tx1"/>
                  </a:solidFill>
                  <a:cs typeface="Segoe UI Semibold"/>
                </a:rPr>
                <a:t>à l</a:t>
              </a:r>
              <a:r>
                <a:rPr lang="fr-FR" sz="2000" b="0" i="0" u="none" baseline="0" dirty="0">
                  <a:solidFill>
                    <a:schemeClr val="tx1"/>
                  </a:solidFill>
                  <a:cs typeface="Segoe UI Semibold"/>
                </a:rPr>
                <a:t>’</a:t>
              </a:r>
              <a:r>
                <a:rPr lang="fr-fr" sz="2000" b="0" i="0" u="none" baseline="0" dirty="0">
                  <a:solidFill>
                    <a:schemeClr val="tx1"/>
                  </a:solidFill>
                  <a:cs typeface="Segoe UI Semibold"/>
                </a:rPr>
                <a:t>aide de </a:t>
              </a:r>
              <a:r>
                <a:rPr lang="fr-fr" sz="2000" b="0" i="0" u="none" baseline="0" dirty="0">
                  <a:solidFill>
                    <a:schemeClr val="tx2"/>
                  </a:solidFill>
                  <a:latin typeface="Segoe UI Semibold"/>
                  <a:cs typeface="Segoe UI Semibold"/>
                </a:rPr>
                <a:t>démos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solidFill>
                    <a:schemeClr val="tx2"/>
                  </a:solidFill>
                  <a:latin typeface="Segoe UI Semibold"/>
                  <a:cs typeface="Segoe UI Semibold"/>
                </a:rPr>
                <a:t>3D virtuelles</a:t>
              </a:r>
              <a:r>
                <a:rPr lang="fr-fr" sz="2000" b="0" i="0" u="none" baseline="0" dirty="0">
                  <a:solidFill>
                    <a:schemeClr val="tx1"/>
                  </a:solidFill>
                  <a:cs typeface="Segoe UI Semibold"/>
                </a:rPr>
                <a:t> sur D365 Product </a:t>
              </a:r>
              <a:r>
                <a:rPr lang="fr-fr" sz="2000" b="0" i="0" u="none" baseline="0" dirty="0" err="1">
                  <a:solidFill>
                    <a:schemeClr val="tx1"/>
                  </a:solidFill>
                  <a:cs typeface="Segoe UI Semibold"/>
                </a:rPr>
                <a:t>Visualize</a:t>
              </a:r>
              <a:endParaRPr lang="fr-fr" sz="2000" b="0" i="0" u="none" baseline="0" dirty="0">
                <a:solidFill>
                  <a:schemeClr val="tx1"/>
                </a:solidFill>
                <a:cs typeface="Segoe UI Semibold"/>
              </a:endParaRPr>
            </a:p>
          </p:txBody>
        </p:sp>
        <p:sp>
          <p:nvSpPr>
            <p:cNvPr id="28" name="Rectangle 27">
              <a:extLst>
                <a:ext uri="{FF2B5EF4-FFF2-40B4-BE49-F238E27FC236}">
                  <a16:creationId xmlns:a16="http://schemas.microsoft.com/office/drawing/2014/main" id="{ECABFFDF-00F5-4AD3-A523-51F0B4697BCD}"/>
                </a:ext>
              </a:extLst>
            </p:cNvPr>
            <p:cNvSpPr/>
            <p:nvPr/>
          </p:nvSpPr>
          <p:spPr bwMode="auto">
            <a:xfrm>
              <a:off x="8139200"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fr-fr" sz="2000" b="0" i="0" u="none" baseline="0" dirty="0">
                  <a:solidFill>
                    <a:schemeClr val="tx2"/>
                  </a:solidFill>
                  <a:latin typeface="Segoe UI Semibold"/>
                  <a:cs typeface="Segoe UI Semibold"/>
                </a:rPr>
                <a:t>Collaborez par vidéoconférence</a:t>
              </a:r>
              <a:r>
                <a:rPr lang="fr-fr" sz="2000" b="0" i="0" u="none" baseline="0" dirty="0">
                  <a:solidFill>
                    <a:schemeClr val="tx1"/>
                  </a:solidFill>
                  <a:cs typeface="Segoe UI Semibold"/>
                </a:rPr>
                <a:t> avec Microsoft Teams, et utilisez LinkedIn pour rester </a:t>
              </a:r>
              <a:r>
                <a:rPr lang="fr-FR" sz="2000" dirty="0">
                  <a:solidFill>
                    <a:schemeClr val="tx1"/>
                  </a:solidFill>
                  <a:cs typeface="Segoe UI Semibold"/>
                </a:rPr>
                <a:t>informés</a:t>
              </a:r>
              <a:r>
                <a:rPr lang="fr-fr" sz="2000" b="0" i="0" u="none" baseline="0" dirty="0">
                  <a:solidFill>
                    <a:schemeClr val="tx1"/>
                  </a:solidFill>
                  <a:cs typeface="Segoe UI Semibold"/>
                </a:rPr>
                <a:t> sur les décideurs </a:t>
              </a:r>
              <a:br>
                <a:rPr lang="th-TH" sz="2000" b="0" i="0" u="none" baseline="0" dirty="0">
                  <a:cs typeface="Segoe UI Semibold" panose="020B0702040204020203" pitchFamily="34" charset="0"/>
                </a:rPr>
              </a:br>
              <a:r>
                <a:rPr lang="fr-fr" sz="2000" b="0" i="0" u="none" baseline="0" dirty="0">
                  <a:solidFill>
                    <a:schemeClr val="tx1"/>
                  </a:solidFill>
                  <a:cs typeface="Segoe UI Semibold"/>
                </a:rPr>
                <a:t>et les parties prenantes</a:t>
              </a:r>
            </a:p>
          </p:txBody>
        </p:sp>
      </p:grpSp>
      <p:sp>
        <p:nvSpPr>
          <p:cNvPr id="13" name="Oval 12">
            <a:extLst>
              <a:ext uri="{FF2B5EF4-FFF2-40B4-BE49-F238E27FC236}">
                <a16:creationId xmlns:a16="http://schemas.microsoft.com/office/drawing/2014/main" id="{D152B271-59E0-4419-81C5-0634F3884976}"/>
              </a:ext>
            </a:extLst>
          </p:cNvPr>
          <p:cNvSpPr/>
          <p:nvPr/>
        </p:nvSpPr>
        <p:spPr bwMode="auto">
          <a:xfrm>
            <a:off x="492790" y="1076837"/>
            <a:ext cx="185965" cy="18596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35" name="Group 34">
            <a:extLst>
              <a:ext uri="{FF2B5EF4-FFF2-40B4-BE49-F238E27FC236}">
                <a16:creationId xmlns:a16="http://schemas.microsoft.com/office/drawing/2014/main" id="{3DB28C9B-02A0-4904-90E6-6E7E058F868C}"/>
              </a:ext>
            </a:extLst>
          </p:cNvPr>
          <p:cNvGrpSpPr/>
          <p:nvPr/>
        </p:nvGrpSpPr>
        <p:grpSpPr>
          <a:xfrm>
            <a:off x="1910610" y="1856921"/>
            <a:ext cx="1001486" cy="1001486"/>
            <a:chOff x="1814286" y="1856921"/>
            <a:chExt cx="1001486" cy="1001486"/>
          </a:xfrm>
          <a:effectLst>
            <a:outerShdw blurRad="50800" dist="38100" dir="5400000" algn="t" rotWithShape="0">
              <a:prstClr val="black">
                <a:alpha val="40000"/>
              </a:prstClr>
            </a:outerShdw>
          </a:effectLst>
        </p:grpSpPr>
        <p:sp>
          <p:nvSpPr>
            <p:cNvPr id="3" name="Oval 2">
              <a:extLst>
                <a:ext uri="{FF2B5EF4-FFF2-40B4-BE49-F238E27FC236}">
                  <a16:creationId xmlns:a16="http://schemas.microsoft.com/office/drawing/2014/main" id="{65572686-CED9-4B12-93CF-8B1F870727A1}"/>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22" name="Oval 21">
              <a:extLst>
                <a:ext uri="{FF2B5EF4-FFF2-40B4-BE49-F238E27FC236}">
                  <a16:creationId xmlns:a16="http://schemas.microsoft.com/office/drawing/2014/main" id="{481C8E38-8CA9-4F1D-B793-87CD497CA46B}"/>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8D1C16F1-E3C5-4C46-A54F-79DE6FE2A599}"/>
              </a:ext>
            </a:extLst>
          </p:cNvPr>
          <p:cNvGrpSpPr/>
          <p:nvPr/>
        </p:nvGrpSpPr>
        <p:grpSpPr>
          <a:xfrm>
            <a:off x="5680180" y="1856921"/>
            <a:ext cx="1001486" cy="1001486"/>
            <a:chOff x="4934858" y="1856921"/>
            <a:chExt cx="1001486" cy="1001486"/>
          </a:xfrm>
          <a:effectLst>
            <a:outerShdw blurRad="50800" dist="38100" dir="5400000" algn="t" rotWithShape="0">
              <a:prstClr val="black">
                <a:alpha val="40000"/>
              </a:prstClr>
            </a:outerShdw>
          </a:effectLst>
        </p:grpSpPr>
        <p:sp>
          <p:nvSpPr>
            <p:cNvPr id="30" name="Oval 29">
              <a:extLst>
                <a:ext uri="{FF2B5EF4-FFF2-40B4-BE49-F238E27FC236}">
                  <a16:creationId xmlns:a16="http://schemas.microsoft.com/office/drawing/2014/main" id="{2FE20A9D-E770-411C-B285-A60F38D50D4A}"/>
                </a:ext>
              </a:extLst>
            </p:cNvPr>
            <p:cNvSpPr/>
            <p:nvPr/>
          </p:nvSpPr>
          <p:spPr bwMode="auto">
            <a:xfrm>
              <a:off x="4934858"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2FFDB4D0-2A6A-4EAB-857D-D3DE880A85D7}"/>
                </a:ext>
              </a:extLst>
            </p:cNvPr>
            <p:cNvSpPr/>
            <p:nvPr/>
          </p:nvSpPr>
          <p:spPr bwMode="auto">
            <a:xfrm>
              <a:off x="5008563"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EC156B1B-4E70-417B-8D59-FEDC3A6952C4}"/>
              </a:ext>
            </a:extLst>
          </p:cNvPr>
          <p:cNvGrpSpPr/>
          <p:nvPr/>
        </p:nvGrpSpPr>
        <p:grpSpPr>
          <a:xfrm>
            <a:off x="9449751" y="1856921"/>
            <a:ext cx="1001486" cy="1001486"/>
            <a:chOff x="8914153" y="1856921"/>
            <a:chExt cx="1001486" cy="1001486"/>
          </a:xfrm>
          <a:effectLst>
            <a:outerShdw blurRad="50800" dist="38100" dir="5400000" algn="t" rotWithShape="0">
              <a:prstClr val="black">
                <a:alpha val="40000"/>
              </a:prstClr>
            </a:outerShdw>
          </a:effectLst>
        </p:grpSpPr>
        <p:sp>
          <p:nvSpPr>
            <p:cNvPr id="32" name="Oval 31">
              <a:extLst>
                <a:ext uri="{FF2B5EF4-FFF2-40B4-BE49-F238E27FC236}">
                  <a16:creationId xmlns:a16="http://schemas.microsoft.com/office/drawing/2014/main" id="{FFE333BC-21C3-4433-9C40-84B0E17A6BD4}"/>
                </a:ext>
              </a:extLst>
            </p:cNvPr>
            <p:cNvSpPr/>
            <p:nvPr/>
          </p:nvSpPr>
          <p:spPr bwMode="auto">
            <a:xfrm>
              <a:off x="8914153"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37D495D3-6433-462C-8A26-35107F417D5D}"/>
                </a:ext>
              </a:extLst>
            </p:cNvPr>
            <p:cNvSpPr/>
            <p:nvPr/>
          </p:nvSpPr>
          <p:spPr bwMode="auto">
            <a:xfrm>
              <a:off x="8987858"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40" name="TextBox 39">
            <a:extLst>
              <a:ext uri="{FF2B5EF4-FFF2-40B4-BE49-F238E27FC236}">
                <a16:creationId xmlns:a16="http://schemas.microsoft.com/office/drawing/2014/main" id="{1D18BAD1-11DC-4CE0-AAFD-BD3E5ABED96F}"/>
              </a:ext>
            </a:extLst>
          </p:cNvPr>
          <p:cNvSpPr txBox="1"/>
          <p:nvPr/>
        </p:nvSpPr>
        <p:spPr>
          <a:xfrm>
            <a:off x="2046670" y="3072370"/>
            <a:ext cx="729366" cy="376706"/>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dirty="0">
                <a:solidFill>
                  <a:schemeClr val="bg1"/>
                </a:solidFill>
                <a:latin typeface="+mj-lt"/>
                <a:ea typeface="+mn-lt"/>
                <a:cs typeface="+mn-lt"/>
              </a:rPr>
              <a:t>Agile</a:t>
            </a:r>
          </a:p>
        </p:txBody>
      </p:sp>
      <p:sp>
        <p:nvSpPr>
          <p:cNvPr id="41" name="TextBox 40">
            <a:extLst>
              <a:ext uri="{FF2B5EF4-FFF2-40B4-BE49-F238E27FC236}">
                <a16:creationId xmlns:a16="http://schemas.microsoft.com/office/drawing/2014/main" id="{B7780D8A-52EF-45CE-9F52-7100DD89152B}"/>
              </a:ext>
            </a:extLst>
          </p:cNvPr>
          <p:cNvSpPr txBox="1"/>
          <p:nvPr/>
        </p:nvSpPr>
        <p:spPr>
          <a:xfrm>
            <a:off x="5705921" y="3072370"/>
            <a:ext cx="950004" cy="376706"/>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dirty="0">
                <a:solidFill>
                  <a:schemeClr val="bg1"/>
                </a:solidFill>
                <a:latin typeface="+mj-lt"/>
                <a:ea typeface="+mn-lt"/>
                <a:cs typeface="+mn-lt"/>
              </a:rPr>
              <a:t>Virtuel</a:t>
            </a:r>
          </a:p>
        </p:txBody>
      </p:sp>
      <p:sp>
        <p:nvSpPr>
          <p:cNvPr id="42" name="TextBox 41">
            <a:extLst>
              <a:ext uri="{FF2B5EF4-FFF2-40B4-BE49-F238E27FC236}">
                <a16:creationId xmlns:a16="http://schemas.microsoft.com/office/drawing/2014/main" id="{35C02D10-579F-4702-AB42-4D982A155CA2}"/>
              </a:ext>
            </a:extLst>
          </p:cNvPr>
          <p:cNvSpPr txBox="1"/>
          <p:nvPr/>
        </p:nvSpPr>
        <p:spPr>
          <a:xfrm>
            <a:off x="9395855" y="3076057"/>
            <a:ext cx="1109278"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dirty="0">
                <a:solidFill>
                  <a:schemeClr val="bg1"/>
                </a:solidFill>
                <a:latin typeface="+mj-lt"/>
                <a:ea typeface="+mn-lt"/>
                <a:cs typeface="+mn-lt"/>
              </a:rPr>
              <a:t>Informé</a:t>
            </a:r>
          </a:p>
        </p:txBody>
      </p:sp>
      <p:sp>
        <p:nvSpPr>
          <p:cNvPr id="45" name="target_2" title="Icon of a target with an arrow hitting the bullseye">
            <a:extLst>
              <a:ext uri="{FF2B5EF4-FFF2-40B4-BE49-F238E27FC236}">
                <a16:creationId xmlns:a16="http://schemas.microsoft.com/office/drawing/2014/main" id="{7604DE5B-B9BE-48FF-BD90-ED1863603D45}"/>
              </a:ext>
            </a:extLst>
          </p:cNvPr>
          <p:cNvSpPr>
            <a:spLocks noChangeAspect="1" noEditPoints="1"/>
          </p:cNvSpPr>
          <p:nvPr/>
        </p:nvSpPr>
        <p:spPr bwMode="auto">
          <a:xfrm>
            <a:off x="2135935" y="2083344"/>
            <a:ext cx="550836" cy="54864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2700" cap="flat">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fr-fr" sz="1850" dirty="0">
              <a:gradFill>
                <a:gsLst>
                  <a:gs pos="0">
                    <a:srgbClr val="505050"/>
                  </a:gs>
                  <a:gs pos="100000">
                    <a:srgbClr val="505050"/>
                  </a:gs>
                </a:gsLst>
              </a:gradFill>
              <a:cs typeface="Segoe UI"/>
            </a:endParaRPr>
          </a:p>
        </p:txBody>
      </p:sp>
      <p:sp>
        <p:nvSpPr>
          <p:cNvPr id="46" name="Move_E7C2" title="Icon of four arrows pointing away from eachother">
            <a:extLst>
              <a:ext uri="{FF2B5EF4-FFF2-40B4-BE49-F238E27FC236}">
                <a16:creationId xmlns:a16="http://schemas.microsoft.com/office/drawing/2014/main" id="{992958B3-6FE4-4175-83AD-8C5B79788659}"/>
              </a:ext>
            </a:extLst>
          </p:cNvPr>
          <p:cNvSpPr>
            <a:spLocks noChangeAspect="1" noEditPoints="1"/>
          </p:cNvSpPr>
          <p:nvPr/>
        </p:nvSpPr>
        <p:spPr bwMode="auto">
          <a:xfrm>
            <a:off x="5906671" y="2083344"/>
            <a:ext cx="548504" cy="54864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47" name="light" title="Icon of a lightbulb">
            <a:extLst>
              <a:ext uri="{FF2B5EF4-FFF2-40B4-BE49-F238E27FC236}">
                <a16:creationId xmlns:a16="http://schemas.microsoft.com/office/drawing/2014/main" id="{170DC440-6AAC-4FAD-8E19-297EFF24EA2A}"/>
              </a:ext>
            </a:extLst>
          </p:cNvPr>
          <p:cNvSpPr>
            <a:spLocks noChangeAspect="1" noEditPoints="1"/>
          </p:cNvSpPr>
          <p:nvPr/>
        </p:nvSpPr>
        <p:spPr bwMode="auto">
          <a:xfrm>
            <a:off x="9765725" y="2083344"/>
            <a:ext cx="369539" cy="54864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fr-fr" sz="1850" dirty="0">
              <a:gradFill>
                <a:gsLst>
                  <a:gs pos="0">
                    <a:srgbClr val="505050"/>
                  </a:gs>
                  <a:gs pos="100000">
                    <a:srgbClr val="505050"/>
                  </a:gs>
                </a:gsLst>
              </a:gradFill>
              <a:cs typeface="Segoe UI"/>
            </a:endParaRPr>
          </a:p>
        </p:txBody>
      </p:sp>
    </p:spTree>
    <p:extLst>
      <p:ext uri="{BB962C8B-B14F-4D97-AF65-F5344CB8AC3E}">
        <p14:creationId xmlns:p14="http://schemas.microsoft.com/office/powerpoint/2010/main" val="216971588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99C65-3B8A-49BC-8B88-3815BEAA13F9}"/>
              </a:ext>
            </a:extLst>
          </p:cNvPr>
          <p:cNvSpPr>
            <a:spLocks noGrp="1"/>
          </p:cNvSpPr>
          <p:nvPr>
            <p:ph type="title"/>
          </p:nvPr>
        </p:nvSpPr>
        <p:spPr/>
        <p:txBody>
          <a:bodyPr/>
          <a:lstStyle/>
          <a:p>
            <a:r>
              <a:rPr lang="fr-fr" b="0" i="0" u="none" baseline="0" dirty="0">
                <a:solidFill>
                  <a:schemeClr val="tx2"/>
                </a:solidFill>
              </a:rPr>
              <a:t>2 | </a:t>
            </a:r>
            <a:r>
              <a:rPr lang="fr-fr" b="0" i="0" u="none" baseline="0" dirty="0"/>
              <a:t>Comprendre </a:t>
            </a:r>
            <a:r>
              <a:rPr lang="fr-FR" dirty="0"/>
              <a:t>vos</a:t>
            </a:r>
            <a:r>
              <a:rPr lang="fr-fr" b="0" i="0" u="none" baseline="0" dirty="0"/>
              <a:t> clients et renforcer les relations</a:t>
            </a:r>
          </a:p>
        </p:txBody>
      </p:sp>
      <p:sp>
        <p:nvSpPr>
          <p:cNvPr id="24" name="Freeform: Shape 23">
            <a:extLst>
              <a:ext uri="{FF2B5EF4-FFF2-40B4-BE49-F238E27FC236}">
                <a16:creationId xmlns:a16="http://schemas.microsoft.com/office/drawing/2014/main" id="{5EE9C19E-56EF-4B38-91B5-8C21AD3BDBE4}"/>
              </a:ext>
            </a:extLst>
          </p:cNvPr>
          <p:cNvSpPr/>
          <p:nvPr/>
        </p:nvSpPr>
        <p:spPr bwMode="auto">
          <a:xfrm>
            <a:off x="0" y="2423886"/>
            <a:ext cx="11836416" cy="1805212"/>
          </a:xfrm>
          <a:custGeom>
            <a:avLst/>
            <a:gdLst>
              <a:gd name="connsiteX0" fmla="*/ 0 w 11711940"/>
              <a:gd name="connsiteY0" fmla="*/ 0 h 1805212"/>
              <a:gd name="connsiteX1" fmla="*/ 11615560 w 11711940"/>
              <a:gd name="connsiteY1" fmla="*/ 0 h 1805212"/>
              <a:gd name="connsiteX2" fmla="*/ 11711940 w 11711940"/>
              <a:gd name="connsiteY2" fmla="*/ 96380 h 1805212"/>
              <a:gd name="connsiteX3" fmla="*/ 11711940 w 11711940"/>
              <a:gd name="connsiteY3" fmla="*/ 1805212 h 1805212"/>
              <a:gd name="connsiteX4" fmla="*/ 0 w 11711940"/>
              <a:gd name="connsiteY4" fmla="*/ 1805212 h 180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1940" h="1805212">
                <a:moveTo>
                  <a:pt x="0" y="0"/>
                </a:moveTo>
                <a:lnTo>
                  <a:pt x="11615560" y="0"/>
                </a:lnTo>
                <a:cubicBezTo>
                  <a:pt x="11668789" y="0"/>
                  <a:pt x="11711940" y="43151"/>
                  <a:pt x="11711940" y="96380"/>
                </a:cubicBezTo>
                <a:lnTo>
                  <a:pt x="11711940" y="1805212"/>
                </a:lnTo>
                <a:lnTo>
                  <a:pt x="0" y="180521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nvGrpSpPr>
          <p:cNvPr id="25" name="Group 24">
            <a:extLst>
              <a:ext uri="{FF2B5EF4-FFF2-40B4-BE49-F238E27FC236}">
                <a16:creationId xmlns:a16="http://schemas.microsoft.com/office/drawing/2014/main" id="{4BA6862A-D0D4-4BFE-823D-A85F00959F64}"/>
              </a:ext>
            </a:extLst>
          </p:cNvPr>
          <p:cNvGrpSpPr/>
          <p:nvPr/>
        </p:nvGrpSpPr>
        <p:grpSpPr>
          <a:xfrm>
            <a:off x="600059" y="3556000"/>
            <a:ext cx="11111881" cy="2725738"/>
            <a:chOff x="600059" y="3556000"/>
            <a:chExt cx="11161729" cy="2725738"/>
          </a:xfrm>
        </p:grpSpPr>
        <p:sp>
          <p:nvSpPr>
            <p:cNvPr id="26" name="Rectangle 25">
              <a:extLst>
                <a:ext uri="{FF2B5EF4-FFF2-40B4-BE49-F238E27FC236}">
                  <a16:creationId xmlns:a16="http://schemas.microsoft.com/office/drawing/2014/main" id="{C08A10E3-FA6D-487D-AD12-91EA8BD71631}"/>
                </a:ext>
              </a:extLst>
            </p:cNvPr>
            <p:cNvSpPr/>
            <p:nvPr/>
          </p:nvSpPr>
          <p:spPr bwMode="auto">
            <a:xfrm>
              <a:off x="600059"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000" b="0" i="0" u="none" baseline="0" dirty="0">
                  <a:solidFill>
                    <a:schemeClr val="tx1"/>
                  </a:solidFill>
                  <a:ea typeface="Segoe UI" pitchFamily="34" charset="0"/>
                  <a:cs typeface="Segoe UI Semibold" panose="020B0702040204020203" pitchFamily="34" charset="0"/>
                </a:rPr>
                <a:t>Ayez </a:t>
              </a:r>
              <a:r>
                <a:rPr lang="fr-fr" sz="2000" b="0" i="0" u="none" baseline="0" dirty="0">
                  <a:solidFill>
                    <a:schemeClr val="tx2"/>
                  </a:solidFill>
                  <a:latin typeface="Segoe UI Semibold" panose="020B0702040204020203" pitchFamily="34" charset="0"/>
                  <a:ea typeface="Segoe UI" pitchFamily="34" charset="0"/>
                  <a:cs typeface="Segoe UI Semibold" panose="020B0702040204020203" pitchFamily="34" charset="0"/>
                </a:rPr>
                <a:t>une connaissance </a:t>
              </a:r>
              <a:br>
                <a:rPr lang="fr-fr" sz="2000" dirty="0">
                  <a:solidFill>
                    <a:schemeClr val="tx2"/>
                  </a:solidFill>
                  <a:latin typeface="Segoe UI Semibold" panose="020B0702040204020203" pitchFamily="34" charset="0"/>
                  <a:ea typeface="Segoe UI" pitchFamily="34" charset="0"/>
                  <a:cs typeface="Segoe UI Semibold" panose="020B0702040204020203" pitchFamily="34" charset="0"/>
                </a:rPr>
              </a:br>
              <a:r>
                <a:rPr lang="fr-fr" sz="2000" b="0" i="0" u="none" baseline="0" dirty="0">
                  <a:solidFill>
                    <a:schemeClr val="tx2"/>
                  </a:solidFill>
                  <a:latin typeface="Segoe UI Semibold" panose="020B0702040204020203" pitchFamily="34" charset="0"/>
                  <a:ea typeface="Segoe UI" pitchFamily="34" charset="0"/>
                  <a:cs typeface="Segoe UI Semibold" panose="020B0702040204020203" pitchFamily="34" charset="0"/>
                </a:rPr>
                <a:t>exhaustive de votre </a:t>
              </a:r>
              <a:br>
                <a:rPr lang="fr-fr" sz="2000" b="0" i="0" u="none" baseline="0" dirty="0">
                  <a:solidFill>
                    <a:schemeClr val="tx2"/>
                  </a:solidFill>
                  <a:latin typeface="Segoe UI Semibold" panose="020B0702040204020203" pitchFamily="34" charset="0"/>
                  <a:ea typeface="Segoe UI" pitchFamily="34" charset="0"/>
                  <a:cs typeface="Segoe UI Semibold" panose="020B0702040204020203" pitchFamily="34" charset="0"/>
                </a:rPr>
              </a:br>
              <a:r>
                <a:rPr lang="fr-fr" sz="2000" b="0" i="0" u="none" baseline="0" dirty="0">
                  <a:solidFill>
                    <a:schemeClr val="tx2"/>
                  </a:solidFill>
                  <a:latin typeface="Segoe UI Semibold" panose="020B0702040204020203" pitchFamily="34" charset="0"/>
                  <a:ea typeface="Segoe UI" pitchFamily="34" charset="0"/>
                  <a:cs typeface="Segoe UI Semibold" panose="020B0702040204020203" pitchFamily="34" charset="0"/>
                </a:rPr>
                <a:t>client</a:t>
              </a:r>
              <a:r>
                <a:rPr lang="fr-fr" sz="2000" b="0" i="0" u="none" baseline="0" dirty="0">
                  <a:solidFill>
                    <a:schemeClr val="tx1"/>
                  </a:solidFill>
                  <a:ea typeface="Segoe UI" pitchFamily="34" charset="0"/>
                  <a:cs typeface="Segoe UI Semibold" panose="020B0702040204020203" pitchFamily="34" charset="0"/>
                </a:rPr>
                <a:t> pour appréhender </a:t>
              </a:r>
              <a:br>
                <a:rPr lang="fr-fr" sz="2000" dirty="0">
                  <a:solidFill>
                    <a:schemeClr val="tx1"/>
                  </a:solidFill>
                  <a:ea typeface="Segoe UI" pitchFamily="34" charset="0"/>
                  <a:cs typeface="Segoe UI Semibold" panose="020B0702040204020203" pitchFamily="34" charset="0"/>
                </a:rPr>
              </a:br>
              <a:r>
                <a:rPr lang="fr-fr" sz="2000" b="0" i="0" u="none" baseline="0" dirty="0">
                  <a:solidFill>
                    <a:schemeClr val="tx1"/>
                  </a:solidFill>
                  <a:ea typeface="Segoe UI" pitchFamily="34" charset="0"/>
                  <a:cs typeface="Segoe UI Semibold" panose="020B0702040204020203" pitchFamily="34" charset="0"/>
                </a:rPr>
                <a:t>les évolutions de la relation</a:t>
              </a:r>
            </a:p>
          </p:txBody>
        </p:sp>
        <p:sp>
          <p:nvSpPr>
            <p:cNvPr id="27" name="Rectangle 26">
              <a:extLst>
                <a:ext uri="{FF2B5EF4-FFF2-40B4-BE49-F238E27FC236}">
                  <a16:creationId xmlns:a16="http://schemas.microsoft.com/office/drawing/2014/main" id="{511730EF-24B3-4D8B-8B1F-2E3F81B2028E}"/>
                </a:ext>
              </a:extLst>
            </p:cNvPr>
            <p:cNvSpPr/>
            <p:nvPr/>
          </p:nvSpPr>
          <p:spPr bwMode="auto">
            <a:xfrm>
              <a:off x="4369630"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000" b="0" i="0" u="none" baseline="0" dirty="0">
                  <a:solidFill>
                    <a:schemeClr val="tx1"/>
                  </a:solidFill>
                  <a:cs typeface="Segoe UI Semibold" panose="020B0702040204020203" pitchFamily="34" charset="0"/>
                </a:rPr>
                <a:t>Prévoyez les évolutions </a:t>
              </a:r>
              <a:br>
                <a:rPr lang="fr-fr" sz="2000" b="0" i="0" u="none" baseline="0" dirty="0">
                  <a:solidFill>
                    <a:schemeClr val="tx1"/>
                  </a:solidFill>
                  <a:cs typeface="Segoe UI Semibold" panose="020B0702040204020203" pitchFamily="34" charset="0"/>
                </a:rPr>
              </a:br>
              <a:r>
                <a:rPr lang="fr-fr" sz="2000" b="0" i="0" u="none" baseline="0" dirty="0">
                  <a:solidFill>
                    <a:schemeClr val="tx1"/>
                  </a:solidFill>
                  <a:cs typeface="Segoe UI Semibold" panose="020B0702040204020203" pitchFamily="34" charset="0"/>
                </a:rPr>
                <a:t>de la demande et du marché à court terme, et suivez </a:t>
              </a:r>
              <a:br>
                <a:rPr lang="fr-fr" sz="2000" b="0" i="0" u="none" baseline="0" dirty="0">
                  <a:solidFill>
                    <a:schemeClr val="tx1"/>
                  </a:solidFill>
                  <a:cs typeface="Segoe UI Semibold" panose="020B0702040204020203" pitchFamily="34" charset="0"/>
                </a:rPr>
              </a:br>
              <a:r>
                <a:rPr lang="fr-fr" sz="2000" b="0" i="0" u="none" baseline="0" dirty="0">
                  <a:solidFill>
                    <a:schemeClr val="tx1"/>
                  </a:solidFill>
                  <a:cs typeface="Segoe UI Semibold" panose="020B0702040204020203" pitchFamily="34" charset="0"/>
                </a:rPr>
                <a:t>les mots-clés pour </a:t>
              </a:r>
              <a:br>
                <a:rPr lang="fr-fr" sz="2000" b="0" i="0" u="none" baseline="0" dirty="0">
                  <a:solidFill>
                    <a:schemeClr val="tx1"/>
                  </a:solidFill>
                  <a:cs typeface="Segoe UI Semibold" panose="020B0702040204020203" pitchFamily="34" charset="0"/>
                </a:rPr>
              </a:br>
              <a:r>
                <a:rPr lang="fr-fr" sz="2000" b="0" i="0" u="none" baseline="0" dirty="0">
                  <a:solidFill>
                    <a:schemeClr val="tx2"/>
                  </a:solidFill>
                  <a:latin typeface="Segoe UI Semibold" panose="020B0702040204020203" pitchFamily="34" charset="0"/>
                  <a:cs typeface="Segoe UI Semibold" panose="020B0702040204020203" pitchFamily="34" charset="0"/>
                </a:rPr>
                <a:t>détecter les orientations concurrentielles</a:t>
              </a:r>
              <a:r>
                <a:rPr lang="fr-fr" sz="2000" b="0" i="0" u="none" baseline="0" dirty="0">
                  <a:solidFill>
                    <a:schemeClr val="tx1"/>
                  </a:solidFill>
                  <a:cs typeface="Segoe UI Semibold" panose="020B0702040204020203" pitchFamily="34" charset="0"/>
                </a:rPr>
                <a:t> </a:t>
              </a:r>
              <a:br>
                <a:rPr lang="fr-fr" sz="2000" b="0" i="0" u="none" baseline="0" dirty="0">
                  <a:solidFill>
                    <a:schemeClr val="tx1"/>
                  </a:solidFill>
                  <a:cs typeface="Segoe UI Semibold" panose="020B0702040204020203" pitchFamily="34" charset="0"/>
                </a:rPr>
              </a:br>
              <a:r>
                <a:rPr lang="fr-fr" sz="2000" b="0" i="0" u="none" baseline="0" dirty="0">
                  <a:solidFill>
                    <a:schemeClr val="tx1"/>
                  </a:solidFill>
                  <a:cs typeface="Segoe UI Semibold" panose="020B0702040204020203" pitchFamily="34" charset="0"/>
                </a:rPr>
                <a:t>en temps réel</a:t>
              </a:r>
            </a:p>
          </p:txBody>
        </p:sp>
        <p:sp>
          <p:nvSpPr>
            <p:cNvPr id="28" name="Rectangle 27">
              <a:extLst>
                <a:ext uri="{FF2B5EF4-FFF2-40B4-BE49-F238E27FC236}">
                  <a16:creationId xmlns:a16="http://schemas.microsoft.com/office/drawing/2014/main" id="{072FDE0A-AD61-4821-B3AF-105005F5D3E9}"/>
                </a:ext>
              </a:extLst>
            </p:cNvPr>
            <p:cNvSpPr/>
            <p:nvPr/>
          </p:nvSpPr>
          <p:spPr bwMode="auto">
            <a:xfrm>
              <a:off x="8139200"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000" b="0" i="0" u="none" baseline="0" dirty="0">
                  <a:solidFill>
                    <a:schemeClr val="tx1"/>
                  </a:solidFill>
                  <a:cs typeface="Segoe UI Semibold" panose="020B0702040204020203" pitchFamily="34" charset="0"/>
                </a:rPr>
                <a:t>Obtenez automatiquement un retour </a:t>
              </a:r>
              <a:r>
                <a:rPr lang="fr-fr" sz="2000" b="0" i="0" u="none" baseline="0" dirty="0">
                  <a:solidFill>
                    <a:schemeClr val="tx2"/>
                  </a:solidFill>
                  <a:latin typeface="Segoe UI Semibold" panose="020B0702040204020203" pitchFamily="34" charset="0"/>
                  <a:cs typeface="Segoe UI Semibold" panose="020B0702040204020203" pitchFamily="34" charset="0"/>
                </a:rPr>
                <a:t>des clients</a:t>
              </a:r>
              <a:r>
                <a:rPr lang="fr-fr" sz="2000" b="0" i="0" u="none" baseline="0" dirty="0">
                  <a:solidFill>
                    <a:schemeClr val="tx1"/>
                  </a:solidFill>
                  <a:cs typeface="Segoe UI Semibold" panose="020B0702040204020203" pitchFamily="34" charset="0"/>
                </a:rPr>
                <a:t> par </a:t>
              </a:r>
              <a:br>
                <a:rPr lang="fr-fr" sz="2000" b="0" i="0" u="none" baseline="0" dirty="0">
                  <a:solidFill>
                    <a:schemeClr val="tx1"/>
                  </a:solidFill>
                  <a:cs typeface="Segoe UI Semibold" panose="020B0702040204020203" pitchFamily="34" charset="0"/>
                </a:rPr>
              </a:br>
              <a:r>
                <a:rPr lang="fr-fr" sz="2000" b="0" i="0" u="none" baseline="0" dirty="0">
                  <a:solidFill>
                    <a:schemeClr val="tx1"/>
                  </a:solidFill>
                  <a:cs typeface="Segoe UI Semibold" panose="020B0702040204020203" pitchFamily="34" charset="0"/>
                </a:rPr>
                <a:t>le biais de sondages </a:t>
              </a:r>
              <a:br>
                <a:rPr lang="fr-fr" sz="2000" b="0" i="0" u="none" baseline="0" dirty="0">
                  <a:solidFill>
                    <a:schemeClr val="tx1"/>
                  </a:solidFill>
                  <a:cs typeface="Segoe UI Semibold" panose="020B0702040204020203" pitchFamily="34" charset="0"/>
                </a:rPr>
              </a:br>
              <a:r>
                <a:rPr lang="fr-fr" sz="2000" b="0" i="0" u="none" baseline="0" dirty="0">
                  <a:solidFill>
                    <a:schemeClr val="tx1"/>
                  </a:solidFill>
                  <a:cs typeface="Segoe UI Semibold" panose="020B0702040204020203" pitchFamily="34" charset="0"/>
                </a:rPr>
                <a:t>et de commentaires </a:t>
              </a:r>
              <a:br>
                <a:rPr lang="fr-fr" sz="2000" b="0" i="0" u="none" baseline="0" dirty="0">
                  <a:solidFill>
                    <a:schemeClr val="tx1"/>
                  </a:solidFill>
                  <a:cs typeface="Segoe UI Semibold" panose="020B0702040204020203" pitchFamily="34" charset="0"/>
                </a:rPr>
              </a:br>
              <a:r>
                <a:rPr lang="fr-fr" sz="2000" b="0" i="0" u="none" baseline="0" dirty="0">
                  <a:solidFill>
                    <a:schemeClr val="tx1"/>
                  </a:solidFill>
                  <a:cs typeface="Segoe UI Semibold" panose="020B0702040204020203" pitchFamily="34" charset="0"/>
                </a:rPr>
                <a:t>sur le Web</a:t>
              </a:r>
            </a:p>
          </p:txBody>
        </p:sp>
      </p:grpSp>
      <p:grpSp>
        <p:nvGrpSpPr>
          <p:cNvPr id="45" name="Group 44">
            <a:extLst>
              <a:ext uri="{FF2B5EF4-FFF2-40B4-BE49-F238E27FC236}">
                <a16:creationId xmlns:a16="http://schemas.microsoft.com/office/drawing/2014/main" id="{E092854E-96F1-4D51-8761-2ED5816634FD}"/>
              </a:ext>
            </a:extLst>
          </p:cNvPr>
          <p:cNvGrpSpPr/>
          <p:nvPr/>
        </p:nvGrpSpPr>
        <p:grpSpPr>
          <a:xfrm>
            <a:off x="587604" y="1775457"/>
            <a:ext cx="11174184" cy="5219068"/>
            <a:chOff x="587604" y="1775457"/>
            <a:chExt cx="11174184" cy="5219068"/>
          </a:xfrm>
        </p:grpSpPr>
        <p:sp>
          <p:nvSpPr>
            <p:cNvPr id="46" name="Arrow: Bent 45">
              <a:extLst>
                <a:ext uri="{FF2B5EF4-FFF2-40B4-BE49-F238E27FC236}">
                  <a16:creationId xmlns:a16="http://schemas.microsoft.com/office/drawing/2014/main" id="{FBA0EE87-5A15-4DEB-850C-935E80CBAFFF}"/>
                </a:ext>
              </a:extLst>
            </p:cNvPr>
            <p:cNvSpPr/>
            <p:nvPr/>
          </p:nvSpPr>
          <p:spPr bwMode="auto">
            <a:xfrm rot="5400000" flipH="1" flipV="1">
              <a:off x="4539096" y="-2176035"/>
              <a:ext cx="580389" cy="8483373"/>
            </a:xfrm>
            <a:prstGeom prst="bentArrow">
              <a:avLst>
                <a:gd name="adj1" fmla="val 25000"/>
                <a:gd name="adj2" fmla="val 0"/>
                <a:gd name="adj3" fmla="val 25000"/>
                <a:gd name="adj4" fmla="val 12978"/>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47" name="Arrow: Bent 46">
              <a:extLst>
                <a:ext uri="{FF2B5EF4-FFF2-40B4-BE49-F238E27FC236}">
                  <a16:creationId xmlns:a16="http://schemas.microsoft.com/office/drawing/2014/main" id="{EEC1AC51-892E-41D3-963B-3D502B100CCC}"/>
                </a:ext>
              </a:extLst>
            </p:cNvPr>
            <p:cNvSpPr/>
            <p:nvPr/>
          </p:nvSpPr>
          <p:spPr bwMode="auto">
            <a:xfrm rot="5400000">
              <a:off x="8012905" y="3245643"/>
              <a:ext cx="4638677" cy="2859088"/>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60553D4F-5588-45EB-9488-A5EFE69D5924}"/>
              </a:ext>
            </a:extLst>
          </p:cNvPr>
          <p:cNvGrpSpPr/>
          <p:nvPr/>
        </p:nvGrpSpPr>
        <p:grpSpPr>
          <a:xfrm>
            <a:off x="1910610" y="1856921"/>
            <a:ext cx="1001486" cy="1001486"/>
            <a:chOff x="1814286" y="1856921"/>
            <a:chExt cx="1001486" cy="1001486"/>
          </a:xfrm>
          <a:effectLst>
            <a:outerShdw blurRad="50800" dist="38100" dir="5400000" algn="t" rotWithShape="0">
              <a:prstClr val="black">
                <a:alpha val="40000"/>
              </a:prstClr>
            </a:outerShdw>
          </a:effectLst>
        </p:grpSpPr>
        <p:sp>
          <p:nvSpPr>
            <p:cNvPr id="31" name="Oval 30">
              <a:extLst>
                <a:ext uri="{FF2B5EF4-FFF2-40B4-BE49-F238E27FC236}">
                  <a16:creationId xmlns:a16="http://schemas.microsoft.com/office/drawing/2014/main" id="{14BC4B0F-DB0D-4309-97B1-485983B6B338}"/>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56B19E90-9BF8-40AD-BC1E-08AE7DDB8C93}"/>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9DC418C6-B72D-4E5D-AF74-85A5419CD68A}"/>
              </a:ext>
            </a:extLst>
          </p:cNvPr>
          <p:cNvGrpSpPr/>
          <p:nvPr/>
        </p:nvGrpSpPr>
        <p:grpSpPr>
          <a:xfrm>
            <a:off x="5680180" y="1856921"/>
            <a:ext cx="1001486" cy="1001486"/>
            <a:chOff x="4934858" y="1856921"/>
            <a:chExt cx="1001486" cy="1001486"/>
          </a:xfrm>
          <a:effectLst>
            <a:outerShdw blurRad="50800" dist="38100" dir="5400000" algn="t" rotWithShape="0">
              <a:prstClr val="black">
                <a:alpha val="40000"/>
              </a:prstClr>
            </a:outerShdw>
          </a:effectLst>
        </p:grpSpPr>
        <p:sp>
          <p:nvSpPr>
            <p:cNvPr id="34" name="Oval 33">
              <a:extLst>
                <a:ext uri="{FF2B5EF4-FFF2-40B4-BE49-F238E27FC236}">
                  <a16:creationId xmlns:a16="http://schemas.microsoft.com/office/drawing/2014/main" id="{B3FD9B22-C59B-4D40-A233-502A5FEEB346}"/>
                </a:ext>
              </a:extLst>
            </p:cNvPr>
            <p:cNvSpPr/>
            <p:nvPr/>
          </p:nvSpPr>
          <p:spPr bwMode="auto">
            <a:xfrm>
              <a:off x="4934858"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F06AC26E-E039-4B89-8578-11A4C2357BB0}"/>
                </a:ext>
              </a:extLst>
            </p:cNvPr>
            <p:cNvSpPr/>
            <p:nvPr/>
          </p:nvSpPr>
          <p:spPr bwMode="auto">
            <a:xfrm>
              <a:off x="5008563"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4E2F9751-E906-4596-96FF-A9B54558C9A0}"/>
              </a:ext>
            </a:extLst>
          </p:cNvPr>
          <p:cNvGrpSpPr/>
          <p:nvPr/>
        </p:nvGrpSpPr>
        <p:grpSpPr>
          <a:xfrm>
            <a:off x="9449751" y="1856921"/>
            <a:ext cx="1001486" cy="1001486"/>
            <a:chOff x="8914153" y="1856921"/>
            <a:chExt cx="1001486" cy="1001486"/>
          </a:xfrm>
          <a:effectLst>
            <a:outerShdw blurRad="50800" dist="38100" dir="5400000" algn="t" rotWithShape="0">
              <a:prstClr val="black">
                <a:alpha val="40000"/>
              </a:prstClr>
            </a:outerShdw>
          </a:effectLst>
        </p:grpSpPr>
        <p:sp>
          <p:nvSpPr>
            <p:cNvPr id="37" name="Oval 36">
              <a:extLst>
                <a:ext uri="{FF2B5EF4-FFF2-40B4-BE49-F238E27FC236}">
                  <a16:creationId xmlns:a16="http://schemas.microsoft.com/office/drawing/2014/main" id="{347FC672-000A-404A-A0AB-671CF899034B}"/>
                </a:ext>
              </a:extLst>
            </p:cNvPr>
            <p:cNvSpPr/>
            <p:nvPr/>
          </p:nvSpPr>
          <p:spPr bwMode="auto">
            <a:xfrm>
              <a:off x="8914153"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
          <p:nvSpPr>
            <p:cNvPr id="38" name="Oval 37">
              <a:extLst>
                <a:ext uri="{FF2B5EF4-FFF2-40B4-BE49-F238E27FC236}">
                  <a16:creationId xmlns:a16="http://schemas.microsoft.com/office/drawing/2014/main" id="{A1BCC3B5-EB1E-427D-BC78-EF65315835FC}"/>
                </a:ext>
              </a:extLst>
            </p:cNvPr>
            <p:cNvSpPr/>
            <p:nvPr/>
          </p:nvSpPr>
          <p:spPr bwMode="auto">
            <a:xfrm>
              <a:off x="8987858"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grpSp>
      <p:sp>
        <p:nvSpPr>
          <p:cNvPr id="39" name="TextBox 38">
            <a:extLst>
              <a:ext uri="{FF2B5EF4-FFF2-40B4-BE49-F238E27FC236}">
                <a16:creationId xmlns:a16="http://schemas.microsoft.com/office/drawing/2014/main" id="{BBC9E7AF-52E2-41ED-93B9-C9FE4D9547EA}"/>
              </a:ext>
            </a:extLst>
          </p:cNvPr>
          <p:cNvSpPr txBox="1"/>
          <p:nvPr/>
        </p:nvSpPr>
        <p:spPr>
          <a:xfrm>
            <a:off x="1331089" y="3076057"/>
            <a:ext cx="2160528"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a:solidFill>
                  <a:schemeClr val="bg1"/>
                </a:solidFill>
                <a:latin typeface="+mj-lt"/>
                <a:ea typeface="+mn-lt"/>
                <a:cs typeface="+mn-lt"/>
              </a:rPr>
              <a:t>Exhaustif</a:t>
            </a:r>
          </a:p>
        </p:txBody>
      </p:sp>
      <p:sp>
        <p:nvSpPr>
          <p:cNvPr id="40" name="TextBox 39">
            <a:extLst>
              <a:ext uri="{FF2B5EF4-FFF2-40B4-BE49-F238E27FC236}">
                <a16:creationId xmlns:a16="http://schemas.microsoft.com/office/drawing/2014/main" id="{0297F5D2-53CE-4FA5-BE81-DA09CF8B7E96}"/>
              </a:ext>
            </a:extLst>
          </p:cNvPr>
          <p:cNvSpPr txBox="1"/>
          <p:nvPr/>
        </p:nvSpPr>
        <p:spPr>
          <a:xfrm>
            <a:off x="5494998" y="3076057"/>
            <a:ext cx="1371850"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a:solidFill>
                  <a:schemeClr val="bg1"/>
                </a:solidFill>
                <a:latin typeface="+mj-lt"/>
                <a:ea typeface="+mn-lt"/>
                <a:cs typeface="+mn-lt"/>
              </a:rPr>
              <a:t>Prédictif</a:t>
            </a:r>
          </a:p>
        </p:txBody>
      </p:sp>
      <p:sp>
        <p:nvSpPr>
          <p:cNvPr id="41" name="TextBox 40">
            <a:extLst>
              <a:ext uri="{FF2B5EF4-FFF2-40B4-BE49-F238E27FC236}">
                <a16:creationId xmlns:a16="http://schemas.microsoft.com/office/drawing/2014/main" id="{84177C25-0CE6-4314-BBBD-B41B5DAC5DC6}"/>
              </a:ext>
            </a:extLst>
          </p:cNvPr>
          <p:cNvSpPr txBox="1"/>
          <p:nvPr/>
        </p:nvSpPr>
        <p:spPr>
          <a:xfrm>
            <a:off x="9216832" y="3076057"/>
            <a:ext cx="1467325"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a:solidFill>
                  <a:schemeClr val="bg1"/>
                </a:solidFill>
                <a:latin typeface="+mj-lt"/>
                <a:ea typeface="+mn-lt"/>
                <a:cs typeface="+mn-lt"/>
              </a:rPr>
              <a:t>Interactif</a:t>
            </a:r>
          </a:p>
        </p:txBody>
      </p:sp>
      <p:sp>
        <p:nvSpPr>
          <p:cNvPr id="21" name="boy" title="Icon of a man">
            <a:extLst>
              <a:ext uri="{FF2B5EF4-FFF2-40B4-BE49-F238E27FC236}">
                <a16:creationId xmlns:a16="http://schemas.microsoft.com/office/drawing/2014/main" id="{4EC9DA78-CF26-45AA-A5BD-4EFE14473F6D}"/>
              </a:ext>
            </a:extLst>
          </p:cNvPr>
          <p:cNvSpPr>
            <a:spLocks noChangeAspect="1" noEditPoints="1"/>
          </p:cNvSpPr>
          <p:nvPr/>
        </p:nvSpPr>
        <p:spPr bwMode="auto">
          <a:xfrm>
            <a:off x="2200595" y="2052864"/>
            <a:ext cx="421517" cy="54864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fr-fr" sz="918" dirty="0">
              <a:gradFill>
                <a:gsLst>
                  <a:gs pos="0">
                    <a:srgbClr val="505050"/>
                  </a:gs>
                  <a:gs pos="100000">
                    <a:srgbClr val="505050"/>
                  </a:gs>
                </a:gsLst>
              </a:gradFill>
            </a:endParaRPr>
          </a:p>
        </p:txBody>
      </p:sp>
      <p:sp>
        <p:nvSpPr>
          <p:cNvPr id="22" name="check 3" title="Icon of a checkmark with a circle around it">
            <a:extLst>
              <a:ext uri="{FF2B5EF4-FFF2-40B4-BE49-F238E27FC236}">
                <a16:creationId xmlns:a16="http://schemas.microsoft.com/office/drawing/2014/main" id="{A047CC57-781F-418B-96C7-5F864F07CC80}"/>
              </a:ext>
            </a:extLst>
          </p:cNvPr>
          <p:cNvSpPr>
            <a:spLocks noChangeAspect="1" noEditPoints="1"/>
          </p:cNvSpPr>
          <p:nvPr/>
        </p:nvSpPr>
        <p:spPr bwMode="auto">
          <a:xfrm>
            <a:off x="5905003" y="2083344"/>
            <a:ext cx="551840" cy="54864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fr-fr" sz="1873"/>
          </a:p>
        </p:txBody>
      </p:sp>
      <p:sp>
        <p:nvSpPr>
          <p:cNvPr id="23" name="people_11" title="Icon of two people with a chat bubble">
            <a:extLst>
              <a:ext uri="{FF2B5EF4-FFF2-40B4-BE49-F238E27FC236}">
                <a16:creationId xmlns:a16="http://schemas.microsoft.com/office/drawing/2014/main" id="{BF58D624-F0FD-4FF0-A6AE-29BAA1F00B26}"/>
              </a:ext>
            </a:extLst>
          </p:cNvPr>
          <p:cNvSpPr>
            <a:spLocks noChangeAspect="1" noEditPoints="1"/>
          </p:cNvSpPr>
          <p:nvPr/>
        </p:nvSpPr>
        <p:spPr bwMode="auto">
          <a:xfrm>
            <a:off x="9688643" y="2106204"/>
            <a:ext cx="523703" cy="502920"/>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fr-fr" sz="1873" dirty="0">
              <a:gradFill>
                <a:gsLst>
                  <a:gs pos="0">
                    <a:srgbClr val="505050"/>
                  </a:gs>
                  <a:gs pos="100000">
                    <a:srgbClr val="505050"/>
                  </a:gs>
                </a:gsLst>
              </a:gradFill>
            </a:endParaRPr>
          </a:p>
        </p:txBody>
      </p:sp>
      <p:sp>
        <p:nvSpPr>
          <p:cNvPr id="29" name="Oval 28">
            <a:extLst>
              <a:ext uri="{FF2B5EF4-FFF2-40B4-BE49-F238E27FC236}">
                <a16:creationId xmlns:a16="http://schemas.microsoft.com/office/drawing/2014/main" id="{087DDAC0-FA8A-44E5-B3F7-9A1E13332EBA}"/>
              </a:ext>
            </a:extLst>
          </p:cNvPr>
          <p:cNvSpPr/>
          <p:nvPr/>
        </p:nvSpPr>
        <p:spPr bwMode="auto">
          <a:xfrm>
            <a:off x="492790" y="1673737"/>
            <a:ext cx="185965" cy="18596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878475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5D917E9C-9FE1-4B51-803E-9DC9FB0331F9}"/>
              </a:ext>
            </a:extLst>
          </p:cNvPr>
          <p:cNvSpPr/>
          <p:nvPr/>
        </p:nvSpPr>
        <p:spPr bwMode="auto">
          <a:xfrm>
            <a:off x="0" y="2423886"/>
            <a:ext cx="11836416" cy="1805212"/>
          </a:xfrm>
          <a:custGeom>
            <a:avLst/>
            <a:gdLst>
              <a:gd name="connsiteX0" fmla="*/ 0 w 11711940"/>
              <a:gd name="connsiteY0" fmla="*/ 0 h 1805212"/>
              <a:gd name="connsiteX1" fmla="*/ 11615560 w 11711940"/>
              <a:gd name="connsiteY1" fmla="*/ 0 h 1805212"/>
              <a:gd name="connsiteX2" fmla="*/ 11711940 w 11711940"/>
              <a:gd name="connsiteY2" fmla="*/ 96380 h 1805212"/>
              <a:gd name="connsiteX3" fmla="*/ 11711940 w 11711940"/>
              <a:gd name="connsiteY3" fmla="*/ 1805212 h 1805212"/>
              <a:gd name="connsiteX4" fmla="*/ 0 w 11711940"/>
              <a:gd name="connsiteY4" fmla="*/ 1805212 h 180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1940" h="1805212">
                <a:moveTo>
                  <a:pt x="0" y="0"/>
                </a:moveTo>
                <a:lnTo>
                  <a:pt x="11615560" y="0"/>
                </a:lnTo>
                <a:cubicBezTo>
                  <a:pt x="11668789" y="0"/>
                  <a:pt x="11711940" y="43151"/>
                  <a:pt x="11711940" y="96380"/>
                </a:cubicBezTo>
                <a:lnTo>
                  <a:pt x="11711940" y="1805212"/>
                </a:lnTo>
                <a:lnTo>
                  <a:pt x="0" y="180521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25" name="Group 24">
            <a:extLst>
              <a:ext uri="{FF2B5EF4-FFF2-40B4-BE49-F238E27FC236}">
                <a16:creationId xmlns:a16="http://schemas.microsoft.com/office/drawing/2014/main" id="{4E864B9E-7DF1-4331-B7AB-9261F8506C2C}"/>
              </a:ext>
            </a:extLst>
          </p:cNvPr>
          <p:cNvGrpSpPr/>
          <p:nvPr/>
        </p:nvGrpSpPr>
        <p:grpSpPr>
          <a:xfrm>
            <a:off x="600059" y="3556000"/>
            <a:ext cx="11111881" cy="2725738"/>
            <a:chOff x="600059" y="3556000"/>
            <a:chExt cx="11161729" cy="2725738"/>
          </a:xfrm>
        </p:grpSpPr>
        <p:sp>
          <p:nvSpPr>
            <p:cNvPr id="26" name="Rectangle 25">
              <a:extLst>
                <a:ext uri="{FF2B5EF4-FFF2-40B4-BE49-F238E27FC236}">
                  <a16:creationId xmlns:a16="http://schemas.microsoft.com/office/drawing/2014/main" id="{0A13D14F-5739-4310-8FCD-2FEBC1C32DF5}"/>
                </a:ext>
              </a:extLst>
            </p:cNvPr>
            <p:cNvSpPr/>
            <p:nvPr/>
          </p:nvSpPr>
          <p:spPr bwMode="auto">
            <a:xfrm>
              <a:off x="600059"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fr-fr" sz="2000" b="0" i="0" u="none" baseline="0" dirty="0">
                  <a:solidFill>
                    <a:schemeClr val="tx1"/>
                  </a:solidFill>
                  <a:ea typeface="Segoe UI" pitchFamily="34" charset="0"/>
                  <a:cs typeface="Segoe UI Semibold"/>
                </a:rPr>
                <a:t>Éliminez les silos fonctionnels et réduisez </a:t>
              </a:r>
              <a:br>
                <a:rPr lang="fr-fr" sz="2000" b="0" i="0" u="none" baseline="0" dirty="0">
                  <a:ea typeface="Segoe UI" pitchFamily="34" charset="0"/>
                  <a:cs typeface="Segoe UI Semibold" panose="020B0702040204020203" pitchFamily="34" charset="0"/>
                </a:rPr>
              </a:br>
              <a:r>
                <a:rPr lang="fr-fr" sz="2000" b="0" i="0" u="none" baseline="0" dirty="0">
                  <a:solidFill>
                    <a:schemeClr val="tx1"/>
                  </a:solidFill>
                  <a:ea typeface="Segoe UI" pitchFamily="34" charset="0"/>
                  <a:cs typeface="Segoe UI Semibold"/>
                </a:rPr>
                <a:t>les coûts par le biais </a:t>
              </a:r>
              <a:br>
                <a:rPr lang="fr-fr" sz="2000" b="0" i="0" u="none" baseline="0" dirty="0">
                  <a:ea typeface="Segoe UI" pitchFamily="34" charset="0"/>
                  <a:cs typeface="Segoe UI Semibold" panose="020B0702040204020203" pitchFamily="34" charset="0"/>
                </a:rPr>
              </a:br>
              <a:r>
                <a:rPr lang="fr-fr" sz="2000" b="0" i="0" u="none" baseline="0" dirty="0">
                  <a:solidFill>
                    <a:schemeClr val="tx2"/>
                  </a:solidFill>
                  <a:latin typeface="Segoe UI Semibold"/>
                  <a:ea typeface="Segoe UI" pitchFamily="34" charset="0"/>
                  <a:cs typeface="Segoe UI Semibold"/>
                </a:rPr>
                <a:t>de données unifiées sur </a:t>
              </a:r>
              <a:br>
                <a:rPr lang="fr-fr" sz="2000" b="0" i="0" u="none" baseline="0" dirty="0">
                  <a:latin typeface="Segoe UI Semibold" panose="020B0702040204020203" pitchFamily="34" charset="0"/>
                  <a:ea typeface="Segoe UI" pitchFamily="34" charset="0"/>
                  <a:cs typeface="Segoe UI Semibold" panose="020B0702040204020203" pitchFamily="34" charset="0"/>
                </a:rPr>
              </a:br>
              <a:r>
                <a:rPr lang="fr-fr" sz="2000" b="0" i="0" u="none" baseline="0" dirty="0">
                  <a:solidFill>
                    <a:schemeClr val="tx2"/>
                  </a:solidFill>
                  <a:latin typeface="Segoe UI Semibold"/>
                  <a:ea typeface="Segoe UI" pitchFamily="34" charset="0"/>
                  <a:cs typeface="Segoe UI Semibold"/>
                </a:rPr>
                <a:t>les ventes et le </a:t>
              </a:r>
              <a:r>
                <a:rPr lang="fr-FR" sz="2000" dirty="0">
                  <a:solidFill>
                    <a:schemeClr val="tx2"/>
                  </a:solidFill>
                  <a:latin typeface="Segoe UI Semibold"/>
                  <a:ea typeface="Segoe UI" pitchFamily="34" charset="0"/>
                  <a:cs typeface="Segoe UI Semibold"/>
                </a:rPr>
                <a:t>marketing,</a:t>
              </a:r>
              <a:r>
                <a:rPr lang="fr-fr" sz="2000" b="0" i="0" u="none" baseline="0" dirty="0">
                  <a:solidFill>
                    <a:schemeClr val="tx1"/>
                  </a:solidFill>
                  <a:ea typeface="Segoe UI" pitchFamily="34" charset="0"/>
                  <a:cs typeface="Segoe UI Semibold"/>
                </a:rPr>
                <a:t> </a:t>
              </a:r>
              <a:br>
                <a:rPr lang="fr-fr" sz="2000" b="0" i="0" u="none" baseline="0" dirty="0">
                  <a:ea typeface="Segoe UI" pitchFamily="34" charset="0"/>
                  <a:cs typeface="Segoe UI Semibold" panose="020B0702040204020203" pitchFamily="34" charset="0"/>
                </a:rPr>
              </a:br>
              <a:r>
                <a:rPr lang="fr-fr" sz="2000" b="0" i="0" u="none" baseline="0" dirty="0">
                  <a:solidFill>
                    <a:schemeClr val="tx1"/>
                  </a:solidFill>
                  <a:ea typeface="Segoe UI" pitchFamily="34" charset="0"/>
                  <a:cs typeface="Segoe UI Semibold"/>
                </a:rPr>
                <a:t>et de processus opérationnels connectés</a:t>
              </a:r>
            </a:p>
          </p:txBody>
        </p:sp>
        <p:sp>
          <p:nvSpPr>
            <p:cNvPr id="27" name="Rectangle 26">
              <a:extLst>
                <a:ext uri="{FF2B5EF4-FFF2-40B4-BE49-F238E27FC236}">
                  <a16:creationId xmlns:a16="http://schemas.microsoft.com/office/drawing/2014/main" id="{3B6F4DAC-3FB1-45F0-A63B-25FAF0451B83}"/>
                </a:ext>
              </a:extLst>
            </p:cNvPr>
            <p:cNvSpPr/>
            <p:nvPr/>
          </p:nvSpPr>
          <p:spPr bwMode="auto">
            <a:xfrm>
              <a:off x="4369630"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000" b="0" i="0" u="none" baseline="0" dirty="0">
                  <a:solidFill>
                    <a:schemeClr val="tx1"/>
                  </a:solidFill>
                  <a:cs typeface="Segoe UI Semibold"/>
                </a:rPr>
                <a:t>Automatisez </a:t>
              </a:r>
              <a:r>
                <a:rPr lang="fr-fr" sz="2000" b="0" i="0" u="none" baseline="0" dirty="0">
                  <a:solidFill>
                    <a:schemeClr val="tx2"/>
                  </a:solidFill>
                  <a:latin typeface="Segoe UI Semibold"/>
                  <a:cs typeface="Segoe UI Semibold"/>
                </a:rPr>
                <a:t>le routage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solidFill>
                    <a:schemeClr val="tx2"/>
                  </a:solidFill>
                  <a:latin typeface="Segoe UI Semibold"/>
                  <a:cs typeface="Segoe UI Semibold"/>
                </a:rPr>
                <a:t>et la remontée des demandes des clients</a:t>
              </a:r>
              <a:r>
                <a:rPr lang="fr-fr" sz="2000" b="0" i="0" u="none" baseline="0" dirty="0">
                  <a:solidFill>
                    <a:schemeClr val="tx1"/>
                  </a:solidFill>
                  <a:cs typeface="Segoe UI Semibold"/>
                </a:rPr>
                <a:t> </a:t>
              </a:r>
              <a:br>
                <a:rPr lang="fr-fr" sz="2000" b="0" i="0" u="none" baseline="0" dirty="0">
                  <a:cs typeface="Segoe UI Semibold" panose="020B0702040204020203" pitchFamily="34" charset="0"/>
                </a:rPr>
              </a:br>
              <a:r>
                <a:rPr lang="fr-fr" sz="2000" b="0" i="0" u="none" baseline="0" dirty="0">
                  <a:solidFill>
                    <a:schemeClr val="tx1"/>
                  </a:solidFill>
                  <a:cs typeface="Segoe UI Semibold"/>
                </a:rPr>
                <a:t>pour une réactivité </a:t>
              </a:r>
              <a:br>
                <a:rPr lang="fr-fr" sz="2000" b="0" i="0" u="none" baseline="0" dirty="0">
                  <a:cs typeface="Segoe UI Semibold" panose="020B0702040204020203" pitchFamily="34" charset="0"/>
                </a:rPr>
              </a:br>
              <a:r>
                <a:rPr lang="fr-fr" sz="2000" b="0" i="0" u="none" baseline="0" dirty="0">
                  <a:solidFill>
                    <a:schemeClr val="tx1"/>
                  </a:solidFill>
                  <a:cs typeface="Segoe UI Semibold"/>
                </a:rPr>
                <a:t>optimale grâce à Microsoft </a:t>
              </a:r>
              <a:br>
                <a:rPr lang="fr-fr" sz="2000" dirty="0">
                  <a:cs typeface="Segoe UI Semibold" panose="020B0702040204020203" pitchFamily="34" charset="0"/>
                </a:rPr>
              </a:br>
              <a:r>
                <a:rPr lang="fr-fr" sz="2000" b="0" i="0" u="none" baseline="0" dirty="0">
                  <a:solidFill>
                    <a:schemeClr val="tx1"/>
                  </a:solidFill>
                  <a:cs typeface="Segoe UI Semibold"/>
                </a:rPr>
                <a:t>Power Automate</a:t>
              </a:r>
            </a:p>
          </p:txBody>
        </p:sp>
        <p:sp>
          <p:nvSpPr>
            <p:cNvPr id="28" name="Rectangle 27">
              <a:extLst>
                <a:ext uri="{FF2B5EF4-FFF2-40B4-BE49-F238E27FC236}">
                  <a16:creationId xmlns:a16="http://schemas.microsoft.com/office/drawing/2014/main" id="{EC5B1361-DB3A-48FA-972B-35BC549C8EBF}"/>
                </a:ext>
              </a:extLst>
            </p:cNvPr>
            <p:cNvSpPr/>
            <p:nvPr/>
          </p:nvSpPr>
          <p:spPr bwMode="auto">
            <a:xfrm>
              <a:off x="8139200"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000" b="0" i="0" u="none" baseline="0" dirty="0">
                  <a:solidFill>
                    <a:schemeClr val="tx2"/>
                  </a:solidFill>
                  <a:latin typeface="Segoe UI Semibold"/>
                  <a:cs typeface="Segoe UI Semibold"/>
                </a:rPr>
                <a:t>Contrôlez le risque </a:t>
              </a:r>
              <a:br>
                <a:rPr lang="fr-fr" sz="2000" b="0" i="0" u="none" baseline="0" dirty="0">
                  <a:latin typeface="Segoe UI Semibold" panose="020B0702040204020203" pitchFamily="34" charset="0"/>
                  <a:cs typeface="Segoe UI Semibold" panose="020B0702040204020203" pitchFamily="34" charset="0"/>
                </a:rPr>
              </a:br>
              <a:r>
                <a:rPr lang="fr-fr" sz="2000" b="0" i="0" u="none" baseline="0" dirty="0">
                  <a:solidFill>
                    <a:schemeClr val="tx2"/>
                  </a:solidFill>
                  <a:latin typeface="Segoe UI Semibold"/>
                  <a:cs typeface="Segoe UI Semibold"/>
                </a:rPr>
                <a:t>en gérant la fraude</a:t>
              </a:r>
              <a:r>
                <a:rPr lang="fr-fr" sz="2000" b="0" i="0" u="none" baseline="0" dirty="0">
                  <a:solidFill>
                    <a:schemeClr val="tx1"/>
                  </a:solidFill>
                  <a:cs typeface="Segoe UI Semibold"/>
                </a:rPr>
                <a:t> </a:t>
              </a:r>
              <a:br>
                <a:rPr lang="fr-fr" sz="2000" b="0" i="0" u="none" baseline="0" dirty="0">
                  <a:cs typeface="Segoe UI Semibold" panose="020B0702040204020203" pitchFamily="34" charset="0"/>
                </a:rPr>
              </a:br>
              <a:r>
                <a:rPr lang="fr-fr" sz="2000" b="0" i="0" u="none" baseline="0" dirty="0">
                  <a:solidFill>
                    <a:schemeClr val="tx1"/>
                  </a:solidFill>
                  <a:cs typeface="Segoe UI Semibold"/>
                </a:rPr>
                <a:t>et protégez vos revenus numériques avec Microsoft </a:t>
              </a:r>
              <a:r>
                <a:rPr lang="fr-fr" sz="2000" b="0" i="0" u="none" baseline="0" dirty="0" err="1">
                  <a:solidFill>
                    <a:schemeClr val="tx1"/>
                  </a:solidFill>
                  <a:cs typeface="Segoe UI Semibold"/>
                </a:rPr>
                <a:t>Fraud</a:t>
              </a:r>
              <a:r>
                <a:rPr lang="fr-fr" sz="2000" b="0" i="0" u="none" baseline="0" dirty="0">
                  <a:solidFill>
                    <a:schemeClr val="tx1"/>
                  </a:solidFill>
                  <a:cs typeface="Segoe UI Semibold"/>
                </a:rPr>
                <a:t> Protection</a:t>
              </a:r>
            </a:p>
          </p:txBody>
        </p:sp>
      </p:grpSp>
      <p:sp>
        <p:nvSpPr>
          <p:cNvPr id="39" name="TextBox 38">
            <a:extLst>
              <a:ext uri="{FF2B5EF4-FFF2-40B4-BE49-F238E27FC236}">
                <a16:creationId xmlns:a16="http://schemas.microsoft.com/office/drawing/2014/main" id="{036037FE-F771-43E0-B796-569C4123FAD3}"/>
              </a:ext>
            </a:extLst>
          </p:cNvPr>
          <p:cNvSpPr txBox="1"/>
          <p:nvPr/>
        </p:nvSpPr>
        <p:spPr>
          <a:xfrm>
            <a:off x="1941674" y="3076057"/>
            <a:ext cx="939360"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dirty="0">
                <a:solidFill>
                  <a:schemeClr val="bg1"/>
                </a:solidFill>
                <a:latin typeface="+mj-lt"/>
                <a:ea typeface="+mn-lt"/>
                <a:cs typeface="+mn-lt"/>
              </a:rPr>
              <a:t>Unifier</a:t>
            </a:r>
          </a:p>
        </p:txBody>
      </p:sp>
      <p:sp>
        <p:nvSpPr>
          <p:cNvPr id="40" name="TextBox 39">
            <a:extLst>
              <a:ext uri="{FF2B5EF4-FFF2-40B4-BE49-F238E27FC236}">
                <a16:creationId xmlns:a16="http://schemas.microsoft.com/office/drawing/2014/main" id="{D3C7CD02-20A2-4AA2-9F16-149F7941867B}"/>
              </a:ext>
            </a:extLst>
          </p:cNvPr>
          <p:cNvSpPr txBox="1"/>
          <p:nvPr/>
        </p:nvSpPr>
        <p:spPr>
          <a:xfrm>
            <a:off x="5324214" y="3076057"/>
            <a:ext cx="1713419"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dirty="0">
                <a:solidFill>
                  <a:schemeClr val="bg1"/>
                </a:solidFill>
                <a:latin typeface="+mj-lt"/>
                <a:ea typeface="+mn-lt"/>
                <a:cs typeface="+mn-lt"/>
              </a:rPr>
              <a:t>Automatiser</a:t>
            </a:r>
          </a:p>
        </p:txBody>
      </p:sp>
      <p:sp>
        <p:nvSpPr>
          <p:cNvPr id="41" name="TextBox 40">
            <a:extLst>
              <a:ext uri="{FF2B5EF4-FFF2-40B4-BE49-F238E27FC236}">
                <a16:creationId xmlns:a16="http://schemas.microsoft.com/office/drawing/2014/main" id="{4FAC1E35-3AA0-470F-B26A-A877BF3AC99A}"/>
              </a:ext>
            </a:extLst>
          </p:cNvPr>
          <p:cNvSpPr txBox="1"/>
          <p:nvPr/>
        </p:nvSpPr>
        <p:spPr>
          <a:xfrm>
            <a:off x="9345201" y="3076057"/>
            <a:ext cx="1210588"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dirty="0">
                <a:solidFill>
                  <a:schemeClr val="bg1"/>
                </a:solidFill>
                <a:latin typeface="+mj-lt"/>
                <a:ea typeface="+mn-lt"/>
                <a:cs typeface="+mn-lt"/>
              </a:rPr>
              <a:t>Protéger</a:t>
            </a:r>
          </a:p>
        </p:txBody>
      </p:sp>
      <p:sp>
        <p:nvSpPr>
          <p:cNvPr id="2" name="Title 1">
            <a:extLst>
              <a:ext uri="{FF2B5EF4-FFF2-40B4-BE49-F238E27FC236}">
                <a16:creationId xmlns:a16="http://schemas.microsoft.com/office/drawing/2014/main" id="{AD699C65-3B8A-49BC-8B88-3815BEAA13F9}"/>
              </a:ext>
            </a:extLst>
          </p:cNvPr>
          <p:cNvSpPr>
            <a:spLocks noGrp="1"/>
          </p:cNvSpPr>
          <p:nvPr>
            <p:ph type="title"/>
          </p:nvPr>
        </p:nvSpPr>
        <p:spPr/>
        <p:txBody>
          <a:bodyPr/>
          <a:lstStyle/>
          <a:p>
            <a:pPr algn="l" rtl="0"/>
            <a:r>
              <a:rPr lang="fr-fr" sz="3650" b="0" i="0" u="none" baseline="0" dirty="0">
                <a:solidFill>
                  <a:schemeClr val="tx2"/>
                </a:solidFill>
                <a:cs typeface="Segoe UI"/>
              </a:rPr>
              <a:t>3 | </a:t>
            </a:r>
            <a:r>
              <a:rPr lang="fr-fr" sz="3650" b="0" i="0" u="none" baseline="0" dirty="0">
                <a:cs typeface="Segoe UI"/>
              </a:rPr>
              <a:t>Optimiser les processus pour réduire les coûts</a:t>
            </a:r>
          </a:p>
        </p:txBody>
      </p:sp>
      <p:grpSp>
        <p:nvGrpSpPr>
          <p:cNvPr id="42" name="Group 41">
            <a:extLst>
              <a:ext uri="{FF2B5EF4-FFF2-40B4-BE49-F238E27FC236}">
                <a16:creationId xmlns:a16="http://schemas.microsoft.com/office/drawing/2014/main" id="{E55849A2-1AA6-4AAA-AD56-8490DBB09ACE}"/>
              </a:ext>
            </a:extLst>
          </p:cNvPr>
          <p:cNvGrpSpPr/>
          <p:nvPr/>
        </p:nvGrpSpPr>
        <p:grpSpPr>
          <a:xfrm>
            <a:off x="587603" y="1168397"/>
            <a:ext cx="11174185" cy="5826128"/>
            <a:chOff x="587603" y="1168397"/>
            <a:chExt cx="11174185" cy="5826128"/>
          </a:xfrm>
        </p:grpSpPr>
        <p:sp>
          <p:nvSpPr>
            <p:cNvPr id="43" name="Arrow: Bent 42">
              <a:extLst>
                <a:ext uri="{FF2B5EF4-FFF2-40B4-BE49-F238E27FC236}">
                  <a16:creationId xmlns:a16="http://schemas.microsoft.com/office/drawing/2014/main" id="{9D20065B-D641-4900-A80B-01541A2B4B63}"/>
                </a:ext>
              </a:extLst>
            </p:cNvPr>
            <p:cNvSpPr/>
            <p:nvPr/>
          </p:nvSpPr>
          <p:spPr bwMode="auto">
            <a:xfrm rot="5400000" flipH="1" flipV="1">
              <a:off x="4235564" y="-2479564"/>
              <a:ext cx="1187451" cy="8483373"/>
            </a:xfrm>
            <a:prstGeom prst="bentArrow">
              <a:avLst>
                <a:gd name="adj1" fmla="val 25000"/>
                <a:gd name="adj2" fmla="val 0"/>
                <a:gd name="adj3" fmla="val 25000"/>
                <a:gd name="adj4" fmla="val 8055"/>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4" name="Arrow: Bent 43">
              <a:extLst>
                <a:ext uri="{FF2B5EF4-FFF2-40B4-BE49-F238E27FC236}">
                  <a16:creationId xmlns:a16="http://schemas.microsoft.com/office/drawing/2014/main" id="{102FCDD0-3493-473B-9836-9136581F5D0E}"/>
                </a:ext>
              </a:extLst>
            </p:cNvPr>
            <p:cNvSpPr/>
            <p:nvPr/>
          </p:nvSpPr>
          <p:spPr bwMode="auto">
            <a:xfrm rot="5400000">
              <a:off x="8012905" y="3245643"/>
              <a:ext cx="4638677" cy="2859088"/>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F1E40F65-C979-48C4-BE31-4138FE5CBEA8}"/>
              </a:ext>
            </a:extLst>
          </p:cNvPr>
          <p:cNvGrpSpPr/>
          <p:nvPr/>
        </p:nvGrpSpPr>
        <p:grpSpPr>
          <a:xfrm>
            <a:off x="1910610" y="1856921"/>
            <a:ext cx="1001486" cy="1001486"/>
            <a:chOff x="1814286" y="1856921"/>
            <a:chExt cx="1001486" cy="1001486"/>
          </a:xfrm>
          <a:effectLst>
            <a:outerShdw blurRad="50800" dist="38100" dir="5400000" algn="t" rotWithShape="0">
              <a:prstClr val="black">
                <a:alpha val="40000"/>
              </a:prstClr>
            </a:outerShdw>
          </a:effectLst>
        </p:grpSpPr>
        <p:sp>
          <p:nvSpPr>
            <p:cNvPr id="31" name="Oval 30">
              <a:extLst>
                <a:ext uri="{FF2B5EF4-FFF2-40B4-BE49-F238E27FC236}">
                  <a16:creationId xmlns:a16="http://schemas.microsoft.com/office/drawing/2014/main" id="{819CF805-D456-43E0-BEE4-6150F7FAFC8A}"/>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BA01FD34-7049-45D0-8E6C-5C55DAEF8114}"/>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34590E29-8BD7-4C8C-8482-83F24ABDAD22}"/>
              </a:ext>
            </a:extLst>
          </p:cNvPr>
          <p:cNvGrpSpPr/>
          <p:nvPr/>
        </p:nvGrpSpPr>
        <p:grpSpPr>
          <a:xfrm>
            <a:off x="5680180" y="1856921"/>
            <a:ext cx="1001486" cy="1001486"/>
            <a:chOff x="4934858" y="1856921"/>
            <a:chExt cx="1001486" cy="1001486"/>
          </a:xfrm>
          <a:effectLst>
            <a:outerShdw blurRad="50800" dist="38100" dir="5400000" algn="t" rotWithShape="0">
              <a:prstClr val="black">
                <a:alpha val="40000"/>
              </a:prstClr>
            </a:outerShdw>
          </a:effectLst>
        </p:grpSpPr>
        <p:sp>
          <p:nvSpPr>
            <p:cNvPr id="34" name="Oval 33">
              <a:extLst>
                <a:ext uri="{FF2B5EF4-FFF2-40B4-BE49-F238E27FC236}">
                  <a16:creationId xmlns:a16="http://schemas.microsoft.com/office/drawing/2014/main" id="{2387A0E6-DDEB-488B-AC2B-7B9CC0B0E017}"/>
                </a:ext>
              </a:extLst>
            </p:cNvPr>
            <p:cNvSpPr/>
            <p:nvPr/>
          </p:nvSpPr>
          <p:spPr bwMode="auto">
            <a:xfrm>
              <a:off x="4934858"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5EDFE9DC-F194-4068-9FF8-8E155592CA1C}"/>
                </a:ext>
              </a:extLst>
            </p:cNvPr>
            <p:cNvSpPr/>
            <p:nvPr/>
          </p:nvSpPr>
          <p:spPr bwMode="auto">
            <a:xfrm>
              <a:off x="5008563"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80CDE526-947F-4963-9F83-7B6DD36CF8F0}"/>
              </a:ext>
            </a:extLst>
          </p:cNvPr>
          <p:cNvGrpSpPr/>
          <p:nvPr/>
        </p:nvGrpSpPr>
        <p:grpSpPr>
          <a:xfrm>
            <a:off x="9449751" y="1856921"/>
            <a:ext cx="1001486" cy="1001486"/>
            <a:chOff x="8914153" y="1856921"/>
            <a:chExt cx="1001486" cy="1001486"/>
          </a:xfrm>
          <a:effectLst>
            <a:outerShdw blurRad="50800" dist="38100" dir="5400000" algn="t" rotWithShape="0">
              <a:prstClr val="black">
                <a:alpha val="40000"/>
              </a:prstClr>
            </a:outerShdw>
          </a:effectLst>
        </p:grpSpPr>
        <p:sp>
          <p:nvSpPr>
            <p:cNvPr id="37" name="Oval 36">
              <a:extLst>
                <a:ext uri="{FF2B5EF4-FFF2-40B4-BE49-F238E27FC236}">
                  <a16:creationId xmlns:a16="http://schemas.microsoft.com/office/drawing/2014/main" id="{57875DF0-9CC5-4B73-929C-F7EDA852A82A}"/>
                </a:ext>
              </a:extLst>
            </p:cNvPr>
            <p:cNvSpPr/>
            <p:nvPr/>
          </p:nvSpPr>
          <p:spPr bwMode="auto">
            <a:xfrm>
              <a:off x="8914153"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8" name="Oval 37">
              <a:extLst>
                <a:ext uri="{FF2B5EF4-FFF2-40B4-BE49-F238E27FC236}">
                  <a16:creationId xmlns:a16="http://schemas.microsoft.com/office/drawing/2014/main" id="{0D510569-71BE-4A0D-B9E6-BE03BA6BD0C8}"/>
                </a:ext>
              </a:extLst>
            </p:cNvPr>
            <p:cNvSpPr/>
            <p:nvPr/>
          </p:nvSpPr>
          <p:spPr bwMode="auto">
            <a:xfrm>
              <a:off x="8987858"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21" name="Embed_ECCE" title="Icon of two chevron brackets around a backslash">
            <a:extLst>
              <a:ext uri="{FF2B5EF4-FFF2-40B4-BE49-F238E27FC236}">
                <a16:creationId xmlns:a16="http://schemas.microsoft.com/office/drawing/2014/main" id="{BCC84543-8262-4B9B-9CF3-EFBC7B61C8A6}"/>
              </a:ext>
            </a:extLst>
          </p:cNvPr>
          <p:cNvSpPr>
            <a:spLocks noChangeAspect="1" noEditPoints="1"/>
          </p:cNvSpPr>
          <p:nvPr/>
        </p:nvSpPr>
        <p:spPr bwMode="auto">
          <a:xfrm>
            <a:off x="2144751" y="2129064"/>
            <a:ext cx="533204" cy="457200"/>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fr-fr" sz="1850" dirty="0">
              <a:gradFill>
                <a:gsLst>
                  <a:gs pos="0">
                    <a:srgbClr val="505050"/>
                  </a:gs>
                  <a:gs pos="100000">
                    <a:srgbClr val="505050"/>
                  </a:gs>
                </a:gsLst>
                <a:lin ang="5400000" scaled="1"/>
              </a:gradFill>
              <a:cs typeface="Segoe UI"/>
            </a:endParaRPr>
          </a:p>
        </p:txBody>
      </p:sp>
      <p:sp>
        <p:nvSpPr>
          <p:cNvPr id="22" name="Touchscreen" title="Icon of a closed hand with one finger touching a screen">
            <a:extLst>
              <a:ext uri="{FF2B5EF4-FFF2-40B4-BE49-F238E27FC236}">
                <a16:creationId xmlns:a16="http://schemas.microsoft.com/office/drawing/2014/main" id="{FDB36756-EE87-4AB8-83F5-D4135A2399B1}"/>
              </a:ext>
            </a:extLst>
          </p:cNvPr>
          <p:cNvSpPr>
            <a:spLocks noChangeAspect="1" noEditPoints="1"/>
          </p:cNvSpPr>
          <p:nvPr/>
        </p:nvSpPr>
        <p:spPr bwMode="auto">
          <a:xfrm>
            <a:off x="5937108" y="2167164"/>
            <a:ext cx="487631" cy="45720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fr-fr" sz="1850" dirty="0">
              <a:gradFill>
                <a:gsLst>
                  <a:gs pos="0">
                    <a:srgbClr val="505050"/>
                  </a:gs>
                  <a:gs pos="100000">
                    <a:srgbClr val="505050"/>
                  </a:gs>
                </a:gsLst>
                <a:lin ang="5400000" scaled="1"/>
              </a:gradFill>
              <a:cs typeface="Segoe UI"/>
            </a:endParaRPr>
          </a:p>
        </p:txBody>
      </p:sp>
      <p:sp>
        <p:nvSpPr>
          <p:cNvPr id="24" name="Shield_EA18" title="Icon of a shield">
            <a:extLst>
              <a:ext uri="{FF2B5EF4-FFF2-40B4-BE49-F238E27FC236}">
                <a16:creationId xmlns:a16="http://schemas.microsoft.com/office/drawing/2014/main" id="{E7932A2D-FA9E-4604-A5A6-FDBC16D2BB99}"/>
              </a:ext>
            </a:extLst>
          </p:cNvPr>
          <p:cNvSpPr>
            <a:spLocks noChangeAspect="1"/>
          </p:cNvSpPr>
          <p:nvPr/>
        </p:nvSpPr>
        <p:spPr bwMode="auto">
          <a:xfrm>
            <a:off x="9735779" y="2129064"/>
            <a:ext cx="429431" cy="45720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fr-fr" sz="1850" dirty="0">
              <a:gradFill>
                <a:gsLst>
                  <a:gs pos="0">
                    <a:srgbClr val="505050"/>
                  </a:gs>
                  <a:gs pos="100000">
                    <a:srgbClr val="505050"/>
                  </a:gs>
                </a:gsLst>
              </a:gradFill>
              <a:cs typeface="Segoe UI"/>
            </a:endParaRPr>
          </a:p>
        </p:txBody>
      </p:sp>
      <p:sp>
        <p:nvSpPr>
          <p:cNvPr id="29" name="Oval 28">
            <a:extLst>
              <a:ext uri="{FF2B5EF4-FFF2-40B4-BE49-F238E27FC236}">
                <a16:creationId xmlns:a16="http://schemas.microsoft.com/office/drawing/2014/main" id="{025C4AC2-47DD-4F95-8C92-203EE2EB117E}"/>
              </a:ext>
            </a:extLst>
          </p:cNvPr>
          <p:cNvSpPr/>
          <p:nvPr/>
        </p:nvSpPr>
        <p:spPr bwMode="auto">
          <a:xfrm>
            <a:off x="492790" y="1076837"/>
            <a:ext cx="185965" cy="18596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897589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768FC6F2-5A54-45D9-B82D-4C962CB79118}"/>
              </a:ext>
            </a:extLst>
          </p:cNvPr>
          <p:cNvSpPr/>
          <p:nvPr/>
        </p:nvSpPr>
        <p:spPr bwMode="auto">
          <a:xfrm>
            <a:off x="0" y="2423886"/>
            <a:ext cx="11836416" cy="1805212"/>
          </a:xfrm>
          <a:custGeom>
            <a:avLst/>
            <a:gdLst>
              <a:gd name="connsiteX0" fmla="*/ 0 w 11711940"/>
              <a:gd name="connsiteY0" fmla="*/ 0 h 1805212"/>
              <a:gd name="connsiteX1" fmla="*/ 11615560 w 11711940"/>
              <a:gd name="connsiteY1" fmla="*/ 0 h 1805212"/>
              <a:gd name="connsiteX2" fmla="*/ 11711940 w 11711940"/>
              <a:gd name="connsiteY2" fmla="*/ 96380 h 1805212"/>
              <a:gd name="connsiteX3" fmla="*/ 11711940 w 11711940"/>
              <a:gd name="connsiteY3" fmla="*/ 1805212 h 1805212"/>
              <a:gd name="connsiteX4" fmla="*/ 0 w 11711940"/>
              <a:gd name="connsiteY4" fmla="*/ 1805212 h 180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1940" h="1805212">
                <a:moveTo>
                  <a:pt x="0" y="0"/>
                </a:moveTo>
                <a:lnTo>
                  <a:pt x="11615560" y="0"/>
                </a:lnTo>
                <a:cubicBezTo>
                  <a:pt x="11668789" y="0"/>
                  <a:pt x="11711940" y="43151"/>
                  <a:pt x="11711940" y="96380"/>
                </a:cubicBezTo>
                <a:lnTo>
                  <a:pt x="11711940" y="1805212"/>
                </a:lnTo>
                <a:lnTo>
                  <a:pt x="0" y="180521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25" name="Group 24">
            <a:extLst>
              <a:ext uri="{FF2B5EF4-FFF2-40B4-BE49-F238E27FC236}">
                <a16:creationId xmlns:a16="http://schemas.microsoft.com/office/drawing/2014/main" id="{B9034646-B231-4359-874A-516F5E1B933A}"/>
              </a:ext>
            </a:extLst>
          </p:cNvPr>
          <p:cNvGrpSpPr/>
          <p:nvPr/>
        </p:nvGrpSpPr>
        <p:grpSpPr>
          <a:xfrm>
            <a:off x="600059" y="3556000"/>
            <a:ext cx="11111881" cy="2725738"/>
            <a:chOff x="600059" y="3556000"/>
            <a:chExt cx="11161729" cy="2725738"/>
          </a:xfrm>
        </p:grpSpPr>
        <p:sp>
          <p:nvSpPr>
            <p:cNvPr id="26" name="Rectangle 25">
              <a:extLst>
                <a:ext uri="{FF2B5EF4-FFF2-40B4-BE49-F238E27FC236}">
                  <a16:creationId xmlns:a16="http://schemas.microsoft.com/office/drawing/2014/main" id="{AE4D7CC4-A153-4D2B-BF6B-FEC27CEC8551}"/>
                </a:ext>
              </a:extLst>
            </p:cNvPr>
            <p:cNvSpPr/>
            <p:nvPr/>
          </p:nvSpPr>
          <p:spPr bwMode="auto">
            <a:xfrm>
              <a:off x="600059"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fr-fr" sz="2000" b="0" i="0" u="none" baseline="0" dirty="0">
                  <a:solidFill>
                    <a:schemeClr val="tx1"/>
                  </a:solidFill>
                </a:rPr>
                <a:t>Grâce à Microsoft </a:t>
              </a:r>
              <a:br>
                <a:rPr lang="fr-fr" sz="2000" b="0" i="0" u="none" baseline="0" dirty="0"/>
              </a:br>
              <a:r>
                <a:rPr lang="fr-fr" sz="2000" b="0" i="0" u="none" baseline="0" dirty="0">
                  <a:solidFill>
                    <a:schemeClr val="tx1"/>
                  </a:solidFill>
                </a:rPr>
                <a:t>Power BI</a:t>
              </a:r>
              <a:r>
                <a:rPr lang="fr-fr" sz="2000" b="0" i="0" u="none" baseline="0" dirty="0">
                  <a:solidFill>
                    <a:schemeClr val="tx1"/>
                  </a:solidFill>
                  <a:ea typeface="Segoe UI" pitchFamily="34" charset="0"/>
                  <a:cs typeface="Segoe UI Semibold"/>
                </a:rPr>
                <a:t>, favorisez </a:t>
              </a:r>
              <a:r>
                <a:rPr lang="fr-fr" sz="2000" b="0" i="0" u="none" baseline="0" dirty="0">
                  <a:solidFill>
                    <a:schemeClr val="tx2"/>
                  </a:solidFill>
                  <a:latin typeface="Segoe UI Semibold"/>
                  <a:ea typeface="Segoe UI" pitchFamily="34" charset="0"/>
                  <a:cs typeface="Segoe UI Semibold"/>
                </a:rPr>
                <a:t>un accompagnement et une prise </a:t>
              </a:r>
              <a:r>
                <a:rPr lang="fr-fr" sz="2000" dirty="0">
                  <a:solidFill>
                    <a:schemeClr val="tx2"/>
                  </a:solidFill>
                  <a:latin typeface="Segoe UI Semibold"/>
                  <a:cs typeface="Segoe UI Semibold"/>
                </a:rPr>
                <a:t>de </a:t>
              </a:r>
              <a:r>
                <a:rPr lang="en-US" sz="2000" dirty="0" err="1">
                  <a:solidFill>
                    <a:schemeClr val="tx2"/>
                  </a:solidFill>
                  <a:latin typeface="Segoe UI Semibold"/>
                  <a:cs typeface="Segoe UI Semibold"/>
                </a:rPr>
                <a:t>décision</a:t>
              </a:r>
              <a:r>
                <a:rPr lang="fr-fr" sz="2000" dirty="0">
                  <a:solidFill>
                    <a:schemeClr val="tx2"/>
                  </a:solidFill>
                  <a:latin typeface="Segoe UI Semibold"/>
                  <a:cs typeface="Segoe UI Semibold"/>
                </a:rPr>
                <a:t> basés </a:t>
              </a:r>
              <a:r>
                <a:rPr lang="fr-fr" sz="2000" b="0" i="0" u="none" baseline="0" dirty="0">
                  <a:solidFill>
                    <a:schemeClr val="tx2"/>
                  </a:solidFill>
                  <a:latin typeface="Segoe UI Semibold"/>
                  <a:ea typeface="Segoe UI" pitchFamily="34" charset="0"/>
                  <a:cs typeface="Segoe UI Semibold"/>
                </a:rPr>
                <a:t>sur des informations</a:t>
              </a:r>
              <a:r>
                <a:rPr lang="fr-fr" sz="2000" b="0" i="0" u="none" baseline="0" dirty="0">
                  <a:solidFill>
                    <a:schemeClr val="tx1"/>
                  </a:solidFill>
                  <a:ea typeface="Segoe UI" pitchFamily="34" charset="0"/>
                  <a:cs typeface="Segoe UI Semibold"/>
                </a:rPr>
                <a:t> pour aider les managers à se focaliser sur les éléments importants</a:t>
              </a:r>
            </a:p>
          </p:txBody>
        </p:sp>
        <p:sp>
          <p:nvSpPr>
            <p:cNvPr id="27" name="Rectangle 26">
              <a:extLst>
                <a:ext uri="{FF2B5EF4-FFF2-40B4-BE49-F238E27FC236}">
                  <a16:creationId xmlns:a16="http://schemas.microsoft.com/office/drawing/2014/main" id="{7598255E-2677-49F2-9908-6BF9417DE4F1}"/>
                </a:ext>
              </a:extLst>
            </p:cNvPr>
            <p:cNvSpPr/>
            <p:nvPr/>
          </p:nvSpPr>
          <p:spPr bwMode="auto">
            <a:xfrm>
              <a:off x="4369630"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rtl="0" fontAlgn="base">
                <a:spcBef>
                  <a:spcPct val="0"/>
                </a:spcBef>
                <a:spcAft>
                  <a:spcPct val="0"/>
                </a:spcAft>
              </a:pPr>
              <a:r>
                <a:rPr lang="fr-fr" sz="2000" b="0" i="0" u="none" baseline="0" dirty="0">
                  <a:solidFill>
                    <a:schemeClr val="tx1"/>
                  </a:solidFill>
                  <a:cs typeface="Segoe UI Semibold"/>
                </a:rPr>
                <a:t>Identifiez les candidats </a:t>
              </a:r>
              <a:br>
                <a:rPr lang="fr-fr" sz="2000" b="0" i="0" u="none" baseline="0" dirty="0">
                  <a:cs typeface="Segoe UI Semibold" panose="020B0702040204020203" pitchFamily="34" charset="0"/>
                </a:rPr>
              </a:br>
              <a:r>
                <a:rPr lang="fr-fr" sz="2000" b="0" i="0" u="none" baseline="0" dirty="0">
                  <a:solidFill>
                    <a:schemeClr val="tx2"/>
                  </a:solidFill>
                  <a:latin typeface="Segoe UI Semibold"/>
                  <a:cs typeface="Segoe UI Semibold"/>
                </a:rPr>
                <a:t>et les ressources commerciales existantes</a:t>
              </a:r>
              <a:r>
                <a:rPr lang="fr-fr" sz="2000" b="0" i="0" u="none" baseline="0" dirty="0">
                  <a:solidFill>
                    <a:schemeClr val="tx1"/>
                  </a:solidFill>
                  <a:cs typeface="Segoe UI Semibold"/>
                </a:rPr>
                <a:t> pour faire face </a:t>
              </a:r>
              <a:br>
                <a:rPr lang="fr-fr" sz="2000" b="0" i="0" u="none" baseline="0" dirty="0">
                  <a:cs typeface="Segoe UI Semibold" panose="020B0702040204020203" pitchFamily="34" charset="0"/>
                </a:rPr>
              </a:br>
              <a:r>
                <a:rPr lang="fr-fr" sz="2000" b="0" i="0" u="none" baseline="0" dirty="0">
                  <a:solidFill>
                    <a:schemeClr val="tx1"/>
                  </a:solidFill>
                  <a:cs typeface="Segoe UI Semibold"/>
                </a:rPr>
                <a:t>à l</a:t>
              </a:r>
              <a:r>
                <a:rPr lang="fr-FR" sz="2000" b="0" i="0" u="none" baseline="0" dirty="0">
                  <a:solidFill>
                    <a:schemeClr val="tx1"/>
                  </a:solidFill>
                  <a:cs typeface="Segoe UI Semibold"/>
                </a:rPr>
                <a:t>’</a:t>
              </a:r>
              <a:r>
                <a:rPr lang="fr-fr" sz="2000" b="0" i="0" u="none" baseline="0" dirty="0">
                  <a:solidFill>
                    <a:schemeClr val="tx1"/>
                  </a:solidFill>
                  <a:cs typeface="Segoe UI Semibold"/>
                </a:rPr>
                <a:t>augmentation </a:t>
              </a:r>
              <a:br>
                <a:rPr lang="fr-fr" sz="2000" b="0" i="0" u="none" baseline="0" dirty="0">
                  <a:cs typeface="Segoe UI Semibold" panose="020B0702040204020203" pitchFamily="34" charset="0"/>
                </a:rPr>
              </a:br>
              <a:r>
                <a:rPr lang="fr-fr" sz="2000" b="0" i="0" u="none" baseline="0" dirty="0">
                  <a:solidFill>
                    <a:schemeClr val="tx1"/>
                  </a:solidFill>
                  <a:cs typeface="Segoe UI Semibold"/>
                </a:rPr>
                <a:t>de la demande</a:t>
              </a:r>
            </a:p>
          </p:txBody>
        </p:sp>
        <p:sp>
          <p:nvSpPr>
            <p:cNvPr id="28" name="Rectangle 27">
              <a:extLst>
                <a:ext uri="{FF2B5EF4-FFF2-40B4-BE49-F238E27FC236}">
                  <a16:creationId xmlns:a16="http://schemas.microsoft.com/office/drawing/2014/main" id="{761A3092-CACC-40C4-A130-2E99AA2E3073}"/>
                </a:ext>
              </a:extLst>
            </p:cNvPr>
            <p:cNvSpPr/>
            <p:nvPr/>
          </p:nvSpPr>
          <p:spPr bwMode="auto">
            <a:xfrm>
              <a:off x="8139200" y="3556000"/>
              <a:ext cx="3622588"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fr-fr" sz="2000" b="0" i="0" u="none" baseline="0" dirty="0">
                  <a:solidFill>
                    <a:schemeClr val="tx1"/>
                  </a:solidFill>
                  <a:cs typeface="Segoe UI Semibold"/>
                </a:rPr>
                <a:t>Renouvelez et complétez </a:t>
              </a:r>
              <a:br>
                <a:rPr lang="fr-fr" sz="2000" b="0" i="0" u="none" baseline="0" dirty="0">
                  <a:cs typeface="Segoe UI Semibold" panose="020B0702040204020203" pitchFamily="34" charset="0"/>
                </a:rPr>
              </a:br>
              <a:r>
                <a:rPr lang="fr-fr" sz="2000" b="0" i="0" u="none" baseline="0" dirty="0">
                  <a:solidFill>
                    <a:schemeClr val="tx1"/>
                  </a:solidFill>
                  <a:cs typeface="Segoe UI Semibold"/>
                </a:rPr>
                <a:t>les compétences des </a:t>
              </a:r>
              <a:br>
                <a:rPr lang="fr-fr" sz="2000" dirty="0">
                  <a:cs typeface="Segoe UI Semibold" panose="020B0702040204020203" pitchFamily="34" charset="0"/>
                </a:rPr>
              </a:br>
              <a:r>
                <a:rPr lang="fr-fr" sz="2000" b="0" i="0" u="none" baseline="0" dirty="0">
                  <a:solidFill>
                    <a:schemeClr val="tx1"/>
                  </a:solidFill>
                  <a:cs typeface="Segoe UI Semibold"/>
                </a:rPr>
                <a:t>équipes de vente</a:t>
              </a:r>
              <a:r>
                <a:rPr lang="th-TH" sz="2000" b="0" i="0" u="none" baseline="0" dirty="0">
                  <a:solidFill>
                    <a:schemeClr val="tx1"/>
                  </a:solidFill>
                  <a:cs typeface="Segoe UI Semibold" panose="020B0702040204020203" pitchFamily="34" charset="0"/>
                </a:rPr>
                <a:t> </a:t>
              </a:r>
              <a:r>
                <a:rPr lang="fr-FR" sz="2000" dirty="0">
                  <a:solidFill>
                    <a:schemeClr val="tx2"/>
                  </a:solidFill>
                  <a:latin typeface="Segoe UI Semibold"/>
                  <a:cs typeface="Segoe UI Semibold"/>
                </a:rPr>
                <a:t>par le biais</a:t>
              </a:r>
              <a:r>
                <a:rPr lang="th-TH" sz="2000" dirty="0">
                  <a:solidFill>
                    <a:schemeClr val="tx2"/>
                  </a:solidFill>
                  <a:latin typeface="Segoe UI Semibold"/>
                  <a:cs typeface="Segoe UI Semibold" panose="020B0702040204020203" pitchFamily="34" charset="0"/>
                </a:rPr>
                <a:t> </a:t>
              </a:r>
              <a:r>
                <a:rPr lang="fr-FR" sz="2000" dirty="0">
                  <a:solidFill>
                    <a:schemeClr val="tx2"/>
                  </a:solidFill>
                  <a:latin typeface="Segoe UI Semibold"/>
                  <a:cs typeface="Segoe UI Semibold"/>
                </a:rPr>
                <a:t>d’apprentissages et de formations</a:t>
              </a:r>
              <a:r>
                <a:rPr lang="fr-fr" sz="2000" b="0" i="0" u="none" baseline="0" dirty="0">
                  <a:solidFill>
                    <a:schemeClr val="tx2"/>
                  </a:solidFill>
                  <a:latin typeface="Segoe UI Semibold"/>
                  <a:cs typeface="Segoe UI Semibold"/>
                </a:rPr>
                <a:t> interactifs </a:t>
              </a:r>
              <a:br>
                <a:rPr lang="th-TH" sz="2000" b="0" i="0" u="none" baseline="0" dirty="0">
                  <a:latin typeface="Segoe UI Semibold" panose="020B0702040204020203" pitchFamily="34" charset="0"/>
                  <a:cs typeface="Segoe UI Semibold" panose="020B0702040204020203" pitchFamily="34" charset="0"/>
                </a:rPr>
              </a:br>
              <a:r>
                <a:rPr lang="fr-fr" sz="2000" b="0" i="0" u="none" baseline="0" dirty="0">
                  <a:solidFill>
                    <a:schemeClr val="tx2"/>
                  </a:solidFill>
                  <a:latin typeface="Segoe UI Semibold"/>
                  <a:cs typeface="Segoe UI Semibold"/>
                </a:rPr>
                <a:t>en ligne</a:t>
              </a:r>
            </a:p>
          </p:txBody>
        </p:sp>
      </p:grpSp>
      <p:sp>
        <p:nvSpPr>
          <p:cNvPr id="39" name="TextBox 38">
            <a:extLst>
              <a:ext uri="{FF2B5EF4-FFF2-40B4-BE49-F238E27FC236}">
                <a16:creationId xmlns:a16="http://schemas.microsoft.com/office/drawing/2014/main" id="{E8482CAE-0BD5-4C07-9E9D-EAA24A1C15FF}"/>
              </a:ext>
            </a:extLst>
          </p:cNvPr>
          <p:cNvSpPr txBox="1"/>
          <p:nvPr/>
        </p:nvSpPr>
        <p:spPr>
          <a:xfrm>
            <a:off x="1947284" y="3076057"/>
            <a:ext cx="928138"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dirty="0">
                <a:solidFill>
                  <a:schemeClr val="bg1"/>
                </a:solidFill>
                <a:latin typeface="+mj-lt"/>
                <a:ea typeface="+mn-lt"/>
                <a:cs typeface="+mn-lt"/>
              </a:rPr>
              <a:t>Décisif</a:t>
            </a:r>
          </a:p>
        </p:txBody>
      </p:sp>
      <p:sp>
        <p:nvSpPr>
          <p:cNvPr id="40" name="TextBox 39">
            <a:extLst>
              <a:ext uri="{FF2B5EF4-FFF2-40B4-BE49-F238E27FC236}">
                <a16:creationId xmlns:a16="http://schemas.microsoft.com/office/drawing/2014/main" id="{0E9E2356-3364-4148-B10A-46A987607CDD}"/>
              </a:ext>
            </a:extLst>
          </p:cNvPr>
          <p:cNvSpPr txBox="1"/>
          <p:nvPr/>
        </p:nvSpPr>
        <p:spPr>
          <a:xfrm>
            <a:off x="5645199" y="3076057"/>
            <a:ext cx="1071447"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dirty="0">
                <a:solidFill>
                  <a:schemeClr val="bg1"/>
                </a:solidFill>
                <a:latin typeface="+mj-lt"/>
                <a:ea typeface="+mn-lt"/>
                <a:cs typeface="+mn-lt"/>
              </a:rPr>
              <a:t>Préparé</a:t>
            </a:r>
          </a:p>
        </p:txBody>
      </p:sp>
      <p:sp>
        <p:nvSpPr>
          <p:cNvPr id="41" name="TextBox 40">
            <a:extLst>
              <a:ext uri="{FF2B5EF4-FFF2-40B4-BE49-F238E27FC236}">
                <a16:creationId xmlns:a16="http://schemas.microsoft.com/office/drawing/2014/main" id="{51E18605-3CAF-4080-9CD4-EA662F7E5C5D}"/>
              </a:ext>
            </a:extLst>
          </p:cNvPr>
          <p:cNvSpPr txBox="1"/>
          <p:nvPr/>
        </p:nvSpPr>
        <p:spPr>
          <a:xfrm>
            <a:off x="9322214" y="3076057"/>
            <a:ext cx="1256561" cy="369332"/>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rtl="0"/>
            <a:r>
              <a:rPr lang="fr-fr" sz="2400" b="0" i="0" u="none" baseline="0" dirty="0">
                <a:solidFill>
                  <a:schemeClr val="bg1"/>
                </a:solidFill>
                <a:latin typeface="+mj-lt"/>
                <a:ea typeface="+mn-lt"/>
                <a:cs typeface="+mn-lt"/>
              </a:rPr>
              <a:t>Interactif</a:t>
            </a:r>
          </a:p>
        </p:txBody>
      </p:sp>
      <p:sp>
        <p:nvSpPr>
          <p:cNvPr id="2" name="Title 1">
            <a:extLst>
              <a:ext uri="{FF2B5EF4-FFF2-40B4-BE49-F238E27FC236}">
                <a16:creationId xmlns:a16="http://schemas.microsoft.com/office/drawing/2014/main" id="{AD699C65-3B8A-49BC-8B88-3815BEAA13F9}"/>
              </a:ext>
            </a:extLst>
          </p:cNvPr>
          <p:cNvSpPr>
            <a:spLocks noGrp="1"/>
          </p:cNvSpPr>
          <p:nvPr>
            <p:ph type="title"/>
          </p:nvPr>
        </p:nvSpPr>
        <p:spPr>
          <a:xfrm>
            <a:off x="600059" y="466301"/>
            <a:ext cx="11430016" cy="1130181"/>
          </a:xfrm>
        </p:spPr>
        <p:txBody>
          <a:bodyPr/>
          <a:lstStyle/>
          <a:p>
            <a:r>
              <a:rPr lang="fr-fr" sz="3650" b="0" i="0" u="none" baseline="0" dirty="0">
                <a:solidFill>
                  <a:schemeClr val="tx2"/>
                </a:solidFill>
                <a:cs typeface="Segoe UI"/>
              </a:rPr>
              <a:t>4 | </a:t>
            </a:r>
            <a:r>
              <a:rPr lang="fr-fr" sz="3650" b="0" i="0" u="none" baseline="0" dirty="0">
                <a:cs typeface="Segoe UI"/>
              </a:rPr>
              <a:t>Aider </a:t>
            </a:r>
            <a:r>
              <a:rPr lang="fr-FR" sz="3650" dirty="0">
                <a:cs typeface="Segoe UI"/>
              </a:rPr>
              <a:t>vos</a:t>
            </a:r>
            <a:r>
              <a:rPr lang="fr-fr" sz="3650" b="0" i="0" u="none" baseline="0" dirty="0">
                <a:cs typeface="Segoe UI"/>
              </a:rPr>
              <a:t> équipes à s</a:t>
            </a:r>
            <a:r>
              <a:rPr lang="fr-FR" sz="3650" b="0" i="0" u="none" baseline="0" dirty="0">
                <a:cs typeface="Segoe UI"/>
              </a:rPr>
              <a:t>’</a:t>
            </a:r>
            <a:r>
              <a:rPr lang="fr-fr" sz="3650" b="0" i="0" u="none" baseline="0" dirty="0">
                <a:cs typeface="Segoe UI"/>
              </a:rPr>
              <a:t>adapter à des environnements en constante évolution</a:t>
            </a:r>
          </a:p>
        </p:txBody>
      </p:sp>
      <p:grpSp>
        <p:nvGrpSpPr>
          <p:cNvPr id="42" name="Group 41">
            <a:extLst>
              <a:ext uri="{FF2B5EF4-FFF2-40B4-BE49-F238E27FC236}">
                <a16:creationId xmlns:a16="http://schemas.microsoft.com/office/drawing/2014/main" id="{20F951B5-16B7-488E-B725-4BBE067C6416}"/>
              </a:ext>
            </a:extLst>
          </p:cNvPr>
          <p:cNvGrpSpPr/>
          <p:nvPr/>
        </p:nvGrpSpPr>
        <p:grpSpPr>
          <a:xfrm>
            <a:off x="587604" y="1775457"/>
            <a:ext cx="11174184" cy="5219068"/>
            <a:chOff x="587604" y="1775457"/>
            <a:chExt cx="11174184" cy="5219068"/>
          </a:xfrm>
        </p:grpSpPr>
        <p:sp>
          <p:nvSpPr>
            <p:cNvPr id="43" name="Arrow: Bent 42">
              <a:extLst>
                <a:ext uri="{FF2B5EF4-FFF2-40B4-BE49-F238E27FC236}">
                  <a16:creationId xmlns:a16="http://schemas.microsoft.com/office/drawing/2014/main" id="{5AA09FF7-1D47-460D-AF0B-E77063867F8F}"/>
                </a:ext>
              </a:extLst>
            </p:cNvPr>
            <p:cNvSpPr/>
            <p:nvPr/>
          </p:nvSpPr>
          <p:spPr bwMode="auto">
            <a:xfrm rot="5400000" flipH="1" flipV="1">
              <a:off x="4539096" y="-2176035"/>
              <a:ext cx="580389" cy="8483373"/>
            </a:xfrm>
            <a:prstGeom prst="bentArrow">
              <a:avLst>
                <a:gd name="adj1" fmla="val 25000"/>
                <a:gd name="adj2" fmla="val 0"/>
                <a:gd name="adj3" fmla="val 25000"/>
                <a:gd name="adj4" fmla="val 12978"/>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4" name="Arrow: Bent 43">
              <a:extLst>
                <a:ext uri="{FF2B5EF4-FFF2-40B4-BE49-F238E27FC236}">
                  <a16:creationId xmlns:a16="http://schemas.microsoft.com/office/drawing/2014/main" id="{BA123C2B-99A8-45A7-8D66-498BF4C1440D}"/>
                </a:ext>
              </a:extLst>
            </p:cNvPr>
            <p:cNvSpPr/>
            <p:nvPr/>
          </p:nvSpPr>
          <p:spPr bwMode="auto">
            <a:xfrm rot="5400000">
              <a:off x="8012905" y="3245643"/>
              <a:ext cx="4638677" cy="2859088"/>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29" name="Oval 28">
            <a:extLst>
              <a:ext uri="{FF2B5EF4-FFF2-40B4-BE49-F238E27FC236}">
                <a16:creationId xmlns:a16="http://schemas.microsoft.com/office/drawing/2014/main" id="{D6EB9503-1338-4C65-860C-7DE0E3581E9D}"/>
              </a:ext>
            </a:extLst>
          </p:cNvPr>
          <p:cNvSpPr/>
          <p:nvPr/>
        </p:nvSpPr>
        <p:spPr bwMode="auto">
          <a:xfrm>
            <a:off x="492790" y="1673737"/>
            <a:ext cx="185965" cy="18596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30" name="Group 29">
            <a:extLst>
              <a:ext uri="{FF2B5EF4-FFF2-40B4-BE49-F238E27FC236}">
                <a16:creationId xmlns:a16="http://schemas.microsoft.com/office/drawing/2014/main" id="{D40B60C4-6E62-4912-8E14-73969A0947F9}"/>
              </a:ext>
            </a:extLst>
          </p:cNvPr>
          <p:cNvGrpSpPr/>
          <p:nvPr/>
        </p:nvGrpSpPr>
        <p:grpSpPr>
          <a:xfrm>
            <a:off x="1910610" y="1856921"/>
            <a:ext cx="1001486" cy="1001486"/>
            <a:chOff x="1814286" y="1856921"/>
            <a:chExt cx="1001486" cy="1001486"/>
          </a:xfrm>
          <a:effectLst>
            <a:outerShdw blurRad="50800" dist="38100" dir="5400000" algn="t" rotWithShape="0">
              <a:prstClr val="black">
                <a:alpha val="40000"/>
              </a:prstClr>
            </a:outerShdw>
          </a:effectLst>
        </p:grpSpPr>
        <p:sp>
          <p:nvSpPr>
            <p:cNvPr id="31" name="Oval 30">
              <a:extLst>
                <a:ext uri="{FF2B5EF4-FFF2-40B4-BE49-F238E27FC236}">
                  <a16:creationId xmlns:a16="http://schemas.microsoft.com/office/drawing/2014/main" id="{455DB22A-9CC4-453B-B34A-EF3075D4F6A1}"/>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5DE25EC5-1323-4DE9-B917-7AE3F4285C9B}"/>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40D7F8E1-8343-4865-A940-42661F1ECE62}"/>
              </a:ext>
            </a:extLst>
          </p:cNvPr>
          <p:cNvGrpSpPr/>
          <p:nvPr/>
        </p:nvGrpSpPr>
        <p:grpSpPr>
          <a:xfrm>
            <a:off x="5680180" y="1856921"/>
            <a:ext cx="1001486" cy="1001486"/>
            <a:chOff x="4934858" y="1856921"/>
            <a:chExt cx="1001486" cy="1001486"/>
          </a:xfrm>
          <a:effectLst>
            <a:outerShdw blurRad="50800" dist="38100" dir="5400000" algn="t" rotWithShape="0">
              <a:prstClr val="black">
                <a:alpha val="40000"/>
              </a:prstClr>
            </a:outerShdw>
          </a:effectLst>
        </p:grpSpPr>
        <p:sp>
          <p:nvSpPr>
            <p:cNvPr id="34" name="Oval 33">
              <a:extLst>
                <a:ext uri="{FF2B5EF4-FFF2-40B4-BE49-F238E27FC236}">
                  <a16:creationId xmlns:a16="http://schemas.microsoft.com/office/drawing/2014/main" id="{11E441D4-7D76-4BEA-9DBD-172A24E417ED}"/>
                </a:ext>
              </a:extLst>
            </p:cNvPr>
            <p:cNvSpPr/>
            <p:nvPr/>
          </p:nvSpPr>
          <p:spPr bwMode="auto">
            <a:xfrm>
              <a:off x="4934858"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2FF3CC0-8006-4B32-8F16-A703830CB039}"/>
                </a:ext>
              </a:extLst>
            </p:cNvPr>
            <p:cNvSpPr/>
            <p:nvPr/>
          </p:nvSpPr>
          <p:spPr bwMode="auto">
            <a:xfrm>
              <a:off x="5008563"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1DED2025-1462-4CD0-A441-ADB508DE6D0D}"/>
              </a:ext>
            </a:extLst>
          </p:cNvPr>
          <p:cNvGrpSpPr/>
          <p:nvPr/>
        </p:nvGrpSpPr>
        <p:grpSpPr>
          <a:xfrm>
            <a:off x="9449751" y="1856921"/>
            <a:ext cx="1001486" cy="1001486"/>
            <a:chOff x="8914153" y="1856921"/>
            <a:chExt cx="1001486" cy="1001486"/>
          </a:xfrm>
          <a:effectLst>
            <a:outerShdw blurRad="50800" dist="38100" dir="5400000" algn="t" rotWithShape="0">
              <a:prstClr val="black">
                <a:alpha val="40000"/>
              </a:prstClr>
            </a:outerShdw>
          </a:effectLst>
        </p:grpSpPr>
        <p:sp>
          <p:nvSpPr>
            <p:cNvPr id="37" name="Oval 36">
              <a:extLst>
                <a:ext uri="{FF2B5EF4-FFF2-40B4-BE49-F238E27FC236}">
                  <a16:creationId xmlns:a16="http://schemas.microsoft.com/office/drawing/2014/main" id="{6FBA74E2-AF67-4724-B743-E0C371A764B4}"/>
                </a:ext>
              </a:extLst>
            </p:cNvPr>
            <p:cNvSpPr/>
            <p:nvPr/>
          </p:nvSpPr>
          <p:spPr bwMode="auto">
            <a:xfrm>
              <a:off x="8914153"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8" name="Oval 37">
              <a:extLst>
                <a:ext uri="{FF2B5EF4-FFF2-40B4-BE49-F238E27FC236}">
                  <a16:creationId xmlns:a16="http://schemas.microsoft.com/office/drawing/2014/main" id="{D44B0AC3-C0CB-42BC-8039-9DA8D4CA33AA}"/>
                </a:ext>
              </a:extLst>
            </p:cNvPr>
            <p:cNvSpPr/>
            <p:nvPr/>
          </p:nvSpPr>
          <p:spPr bwMode="auto">
            <a:xfrm>
              <a:off x="8987858"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sp>
        <p:nvSpPr>
          <p:cNvPr id="21" name="check 3" title="Icon of a checkmark with a circle around it">
            <a:extLst>
              <a:ext uri="{FF2B5EF4-FFF2-40B4-BE49-F238E27FC236}">
                <a16:creationId xmlns:a16="http://schemas.microsoft.com/office/drawing/2014/main" id="{67A94569-B099-4937-8276-CA33B122431A}"/>
              </a:ext>
            </a:extLst>
          </p:cNvPr>
          <p:cNvSpPr>
            <a:spLocks noChangeAspect="1" noEditPoints="1"/>
          </p:cNvSpPr>
          <p:nvPr/>
        </p:nvSpPr>
        <p:spPr bwMode="auto">
          <a:xfrm>
            <a:off x="2135433" y="2083344"/>
            <a:ext cx="551840" cy="54864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fr-fr" sz="1850" dirty="0">
              <a:cs typeface="Segoe UI"/>
            </a:endParaRPr>
          </a:p>
        </p:txBody>
      </p:sp>
      <p:sp>
        <p:nvSpPr>
          <p:cNvPr id="22" name="hand_3" title="Icon of a hand giving a thumbs-up">
            <a:extLst>
              <a:ext uri="{FF2B5EF4-FFF2-40B4-BE49-F238E27FC236}">
                <a16:creationId xmlns:a16="http://schemas.microsoft.com/office/drawing/2014/main" id="{67466FBE-8350-4F90-A36C-E8BA9A253DC8}"/>
              </a:ext>
            </a:extLst>
          </p:cNvPr>
          <p:cNvSpPr>
            <a:spLocks noChangeAspect="1"/>
          </p:cNvSpPr>
          <p:nvPr/>
        </p:nvSpPr>
        <p:spPr bwMode="auto">
          <a:xfrm>
            <a:off x="5919918" y="2083344"/>
            <a:ext cx="522010" cy="457200"/>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fr-fr" sz="1850" dirty="0">
              <a:cs typeface="Segoe UI"/>
            </a:endParaRPr>
          </a:p>
        </p:txBody>
      </p:sp>
      <p:sp>
        <p:nvSpPr>
          <p:cNvPr id="23" name="people_11" title="Icon of two people with a chat bubble">
            <a:extLst>
              <a:ext uri="{FF2B5EF4-FFF2-40B4-BE49-F238E27FC236}">
                <a16:creationId xmlns:a16="http://schemas.microsoft.com/office/drawing/2014/main" id="{184B30D1-9FA4-4249-B44C-6AD2BA3D5F4D}"/>
              </a:ext>
            </a:extLst>
          </p:cNvPr>
          <p:cNvSpPr>
            <a:spLocks noChangeAspect="1" noEditPoints="1"/>
          </p:cNvSpPr>
          <p:nvPr/>
        </p:nvSpPr>
        <p:spPr bwMode="auto">
          <a:xfrm>
            <a:off x="9712448" y="2129064"/>
            <a:ext cx="476093" cy="457200"/>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fr-fr" sz="1850" dirty="0">
              <a:gradFill>
                <a:gsLst>
                  <a:gs pos="0">
                    <a:srgbClr val="505050"/>
                  </a:gs>
                  <a:gs pos="100000">
                    <a:srgbClr val="505050"/>
                  </a:gs>
                </a:gsLst>
              </a:gradFill>
              <a:cs typeface="Segoe UI"/>
            </a:endParaRPr>
          </a:p>
        </p:txBody>
      </p:sp>
    </p:spTree>
    <p:extLst>
      <p:ext uri="{BB962C8B-B14F-4D97-AF65-F5344CB8AC3E}">
        <p14:creationId xmlns:p14="http://schemas.microsoft.com/office/powerpoint/2010/main" val="192330678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11BD993-4A3B-4B81-8FFF-170D8261EB29}"/>
              </a:ext>
            </a:extLst>
          </p:cNvPr>
          <p:cNvSpPr/>
          <p:nvPr/>
        </p:nvSpPr>
        <p:spPr bwMode="auto">
          <a:xfrm>
            <a:off x="-1" y="-1"/>
            <a:ext cx="4075113"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2" name="TextBox 31">
            <a:extLst>
              <a:ext uri="{FF2B5EF4-FFF2-40B4-BE49-F238E27FC236}">
                <a16:creationId xmlns:a16="http://schemas.microsoft.com/office/drawing/2014/main" id="{E5144EC5-4165-40C7-B7BB-1F87902703EB}"/>
              </a:ext>
            </a:extLst>
          </p:cNvPr>
          <p:cNvSpPr txBox="1"/>
          <p:nvPr/>
        </p:nvSpPr>
        <p:spPr>
          <a:xfrm>
            <a:off x="584200" y="427038"/>
            <a:ext cx="3276600" cy="1846659"/>
          </a:xfrm>
          <a:prstGeom prst="rect">
            <a:avLst/>
          </a:prstGeom>
          <a:noFill/>
        </p:spPr>
        <p:txBody>
          <a:bodyPr wrap="square" lIns="0" tIns="0" rIns="0" bIns="0" rtlCol="0" anchor="t">
            <a:spAutoFit/>
          </a:bodyPr>
          <a:lstStyle/>
          <a:p>
            <a:pPr algn="l" rtl="0"/>
            <a:r>
              <a:rPr lang="fr-fr" sz="4000" b="0" i="0" u="none" baseline="0" dirty="0">
                <a:solidFill>
                  <a:schemeClr val="bg1"/>
                </a:solidFill>
                <a:latin typeface="+mj-lt"/>
              </a:rPr>
              <a:t>Regrouper les données sur la clientèle</a:t>
            </a:r>
            <a:endParaRPr lang="fr-fr" sz="4000" dirty="0">
              <a:solidFill>
                <a:schemeClr val="bg1"/>
              </a:solidFill>
              <a:latin typeface="+mj-lt"/>
              <a:cs typeface="Segoe UI Semibold"/>
            </a:endParaRPr>
          </a:p>
        </p:txBody>
      </p:sp>
      <p:sp>
        <p:nvSpPr>
          <p:cNvPr id="33" name="Rectangle 32">
            <a:extLst>
              <a:ext uri="{FF2B5EF4-FFF2-40B4-BE49-F238E27FC236}">
                <a16:creationId xmlns:a16="http://schemas.microsoft.com/office/drawing/2014/main" id="{3EBDFC26-6F98-46E1-8385-318F5EF78715}"/>
              </a:ext>
            </a:extLst>
          </p:cNvPr>
          <p:cNvSpPr/>
          <p:nvPr/>
        </p:nvSpPr>
        <p:spPr bwMode="auto">
          <a:xfrm>
            <a:off x="584199" y="2615838"/>
            <a:ext cx="3108960"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12" name="Arrow: Bent 11">
            <a:extLst>
              <a:ext uri="{FF2B5EF4-FFF2-40B4-BE49-F238E27FC236}">
                <a16:creationId xmlns:a16="http://schemas.microsoft.com/office/drawing/2014/main" id="{6CA0F6D4-DFE6-48D7-9ADA-2DBC6ADBBC03}"/>
              </a:ext>
            </a:extLst>
          </p:cNvPr>
          <p:cNvSpPr/>
          <p:nvPr/>
        </p:nvSpPr>
        <p:spPr bwMode="auto">
          <a:xfrm flipV="1">
            <a:off x="4238171" y="-1"/>
            <a:ext cx="8198304" cy="3178629"/>
          </a:xfrm>
          <a:prstGeom prst="bentArrow">
            <a:avLst>
              <a:gd name="adj1" fmla="val 25000"/>
              <a:gd name="adj2" fmla="val 0"/>
              <a:gd name="adj3" fmla="val 25000"/>
              <a:gd name="adj4" fmla="val 270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4" name="Arrow: Bent 33">
            <a:extLst>
              <a:ext uri="{FF2B5EF4-FFF2-40B4-BE49-F238E27FC236}">
                <a16:creationId xmlns:a16="http://schemas.microsoft.com/office/drawing/2014/main" id="{5A29FCA5-BA7E-4E98-86AC-575EEDCD4188}"/>
              </a:ext>
            </a:extLst>
          </p:cNvPr>
          <p:cNvSpPr/>
          <p:nvPr/>
        </p:nvSpPr>
        <p:spPr bwMode="auto">
          <a:xfrm>
            <a:off x="4238171" y="3815896"/>
            <a:ext cx="8198304" cy="3178629"/>
          </a:xfrm>
          <a:prstGeom prst="bentArrow">
            <a:avLst>
              <a:gd name="adj1" fmla="val 25000"/>
              <a:gd name="adj2" fmla="val 0"/>
              <a:gd name="adj3" fmla="val 25000"/>
              <a:gd name="adj4" fmla="val 2686"/>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8EB7FD5B-528F-4178-B145-F2404E287806}"/>
              </a:ext>
            </a:extLst>
          </p:cNvPr>
          <p:cNvGrpSpPr/>
          <p:nvPr/>
        </p:nvGrpSpPr>
        <p:grpSpPr>
          <a:xfrm>
            <a:off x="7539996" y="2767239"/>
            <a:ext cx="1441904" cy="1965741"/>
            <a:chOff x="7539996" y="2767239"/>
            <a:chExt cx="1441904" cy="1965741"/>
          </a:xfrm>
        </p:grpSpPr>
        <p:sp>
          <p:nvSpPr>
            <p:cNvPr id="45" name="Rectangle 44">
              <a:extLst>
                <a:ext uri="{FF2B5EF4-FFF2-40B4-BE49-F238E27FC236}">
                  <a16:creationId xmlns:a16="http://schemas.microsoft.com/office/drawing/2014/main" id="{5E5B6C6A-51CA-43EC-9A38-DBBA99624DFB}"/>
                </a:ext>
              </a:extLst>
            </p:cNvPr>
            <p:cNvSpPr/>
            <p:nvPr/>
          </p:nvSpPr>
          <p:spPr bwMode="auto">
            <a:xfrm>
              <a:off x="7539996" y="4365635"/>
              <a:ext cx="1441904" cy="367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0938" rtl="0">
                <a:lnSpc>
                  <a:spcPct val="90000"/>
                </a:lnSpc>
                <a:spcAft>
                  <a:spcPts val="612"/>
                </a:spcAft>
                <a:defRPr/>
              </a:pPr>
              <a:r>
                <a:rPr lang="fr-fr" sz="2650" b="0" i="0" u="none" spc="10" baseline="0" dirty="0">
                  <a:solidFill>
                    <a:schemeClr val="tx1"/>
                  </a:solidFill>
                  <a:latin typeface="Segoe UI Semibold"/>
                  <a:cs typeface="Segoe UI Semibold"/>
                </a:rPr>
                <a:t>LinkedIn</a:t>
              </a:r>
            </a:p>
          </p:txBody>
        </p:sp>
        <p:grpSp>
          <p:nvGrpSpPr>
            <p:cNvPr id="9" name="Group 8">
              <a:extLst>
                <a:ext uri="{FF2B5EF4-FFF2-40B4-BE49-F238E27FC236}">
                  <a16:creationId xmlns:a16="http://schemas.microsoft.com/office/drawing/2014/main" id="{CF01C791-8A14-4FC8-B877-0405E454845E}"/>
                </a:ext>
              </a:extLst>
            </p:cNvPr>
            <p:cNvGrpSpPr/>
            <p:nvPr/>
          </p:nvGrpSpPr>
          <p:grpSpPr>
            <a:xfrm>
              <a:off x="7539996" y="2767239"/>
              <a:ext cx="1441904" cy="1441904"/>
              <a:chOff x="7539996" y="2767239"/>
              <a:chExt cx="1441904" cy="1441904"/>
            </a:xfrm>
          </p:grpSpPr>
          <p:grpSp>
            <p:nvGrpSpPr>
              <p:cNvPr id="3" name="Group 2">
                <a:extLst>
                  <a:ext uri="{FF2B5EF4-FFF2-40B4-BE49-F238E27FC236}">
                    <a16:creationId xmlns:a16="http://schemas.microsoft.com/office/drawing/2014/main" id="{42AB2503-33DA-4D19-AD6C-D0674FA0CE93}"/>
                  </a:ext>
                </a:extLst>
              </p:cNvPr>
              <p:cNvGrpSpPr/>
              <p:nvPr/>
            </p:nvGrpSpPr>
            <p:grpSpPr>
              <a:xfrm>
                <a:off x="7539996" y="2767239"/>
                <a:ext cx="1441904" cy="1441904"/>
                <a:chOff x="7539996" y="2767239"/>
                <a:chExt cx="1441904" cy="1441904"/>
              </a:xfrm>
            </p:grpSpPr>
            <p:sp>
              <p:nvSpPr>
                <p:cNvPr id="39" name="Oval 38">
                  <a:extLst>
                    <a:ext uri="{FF2B5EF4-FFF2-40B4-BE49-F238E27FC236}">
                      <a16:creationId xmlns:a16="http://schemas.microsoft.com/office/drawing/2014/main" id="{E50202F4-130A-4844-84D3-D6EFAC5B4AC9}"/>
                    </a:ext>
                  </a:extLst>
                </p:cNvPr>
                <p:cNvSpPr/>
                <p:nvPr/>
              </p:nvSpPr>
              <p:spPr bwMode="auto">
                <a:xfrm>
                  <a:off x="7539996" y="2767239"/>
                  <a:ext cx="1441904" cy="1441904"/>
                </a:xfrm>
                <a:prstGeom prst="ellipse">
                  <a:avLst/>
                </a:prstGeom>
                <a:solidFill>
                  <a:schemeClr val="bg1"/>
                </a:solidFill>
                <a:ln w="3175" cap="rnd">
                  <a:solidFill>
                    <a:schemeClr val="bg1">
                      <a:lumMod val="95000"/>
                    </a:schemeClr>
                  </a:solidFill>
                  <a:prstDash val="dash"/>
                  <a:headEnd type="none" w="med" len="med"/>
                  <a:tailEnd type="none" w="med" len="med"/>
                </a:ln>
                <a:effectLst>
                  <a:outerShdw blurRad="50800" dist="38100" dir="540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0" name="Oval 39">
                  <a:extLst>
                    <a:ext uri="{FF2B5EF4-FFF2-40B4-BE49-F238E27FC236}">
                      <a16:creationId xmlns:a16="http://schemas.microsoft.com/office/drawing/2014/main" id="{5D44B51D-C4CE-4029-8BDB-BE446EF519FB}"/>
                    </a:ext>
                  </a:extLst>
                </p:cNvPr>
                <p:cNvSpPr/>
                <p:nvPr/>
              </p:nvSpPr>
              <p:spPr bwMode="auto">
                <a:xfrm>
                  <a:off x="7646114" y="2873357"/>
                  <a:ext cx="1229668" cy="1229668"/>
                </a:xfrm>
                <a:prstGeom prst="ellipse">
                  <a:avLst/>
                </a:prstGeom>
                <a:solidFill>
                  <a:srgbClr val="0069AD"/>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879970D6-601E-4516-ABE0-F445B7260CF7}"/>
                  </a:ext>
                </a:extLst>
              </p:cNvPr>
              <p:cNvGrpSpPr/>
              <p:nvPr/>
            </p:nvGrpSpPr>
            <p:grpSpPr>
              <a:xfrm>
                <a:off x="7949087" y="3181415"/>
                <a:ext cx="623722" cy="613552"/>
                <a:chOff x="7949087" y="3181415"/>
                <a:chExt cx="623722" cy="613552"/>
              </a:xfrm>
            </p:grpSpPr>
            <p:sp>
              <p:nvSpPr>
                <p:cNvPr id="50" name="Freeform 18">
                  <a:extLst>
                    <a:ext uri="{FF2B5EF4-FFF2-40B4-BE49-F238E27FC236}">
                      <a16:creationId xmlns:a16="http://schemas.microsoft.com/office/drawing/2014/main" id="{A860260F-5DA7-4DF2-8B8E-28D5A5C54095}"/>
                    </a:ext>
                  </a:extLst>
                </p:cNvPr>
                <p:cNvSpPr>
                  <a:spLocks/>
                </p:cNvSpPr>
                <p:nvPr/>
              </p:nvSpPr>
              <p:spPr bwMode="auto">
                <a:xfrm>
                  <a:off x="8170195" y="3371242"/>
                  <a:ext cx="402614" cy="423723"/>
                </a:xfrm>
                <a:custGeom>
                  <a:avLst/>
                  <a:gdLst>
                    <a:gd name="T0" fmla="*/ 18 w 57"/>
                    <a:gd name="T1" fmla="*/ 58 h 58"/>
                    <a:gd name="T2" fmla="*/ 0 w 57"/>
                    <a:gd name="T3" fmla="*/ 58 h 58"/>
                    <a:gd name="T4" fmla="*/ 0 w 57"/>
                    <a:gd name="T5" fmla="*/ 1 h 58"/>
                    <a:gd name="T6" fmla="*/ 18 w 57"/>
                    <a:gd name="T7" fmla="*/ 1 h 58"/>
                    <a:gd name="T8" fmla="*/ 18 w 57"/>
                    <a:gd name="T9" fmla="*/ 9 h 58"/>
                    <a:gd name="T10" fmla="*/ 18 w 57"/>
                    <a:gd name="T11" fmla="*/ 9 h 58"/>
                    <a:gd name="T12" fmla="*/ 19 w 57"/>
                    <a:gd name="T13" fmla="*/ 9 h 58"/>
                    <a:gd name="T14" fmla="*/ 22 w 57"/>
                    <a:gd name="T15" fmla="*/ 5 h 58"/>
                    <a:gd name="T16" fmla="*/ 31 w 57"/>
                    <a:gd name="T17" fmla="*/ 1 h 58"/>
                    <a:gd name="T18" fmla="*/ 38 w 57"/>
                    <a:gd name="T19" fmla="*/ 0 h 58"/>
                    <a:gd name="T20" fmla="*/ 45 w 57"/>
                    <a:gd name="T21" fmla="*/ 2 h 58"/>
                    <a:gd name="T22" fmla="*/ 53 w 57"/>
                    <a:gd name="T23" fmla="*/ 10 h 58"/>
                    <a:gd name="T24" fmla="*/ 56 w 57"/>
                    <a:gd name="T25" fmla="*/ 18 h 58"/>
                    <a:gd name="T26" fmla="*/ 57 w 57"/>
                    <a:gd name="T27" fmla="*/ 25 h 58"/>
                    <a:gd name="T28" fmla="*/ 57 w 57"/>
                    <a:gd name="T29" fmla="*/ 57 h 58"/>
                    <a:gd name="T30" fmla="*/ 57 w 57"/>
                    <a:gd name="T31" fmla="*/ 58 h 58"/>
                    <a:gd name="T32" fmla="*/ 57 w 57"/>
                    <a:gd name="T33" fmla="*/ 58 h 58"/>
                    <a:gd name="T34" fmla="*/ 57 w 57"/>
                    <a:gd name="T35" fmla="*/ 58 h 58"/>
                    <a:gd name="T36" fmla="*/ 56 w 57"/>
                    <a:gd name="T37" fmla="*/ 58 h 58"/>
                    <a:gd name="T38" fmla="*/ 38 w 57"/>
                    <a:gd name="T39" fmla="*/ 58 h 58"/>
                    <a:gd name="T40" fmla="*/ 38 w 57"/>
                    <a:gd name="T41" fmla="*/ 58 h 58"/>
                    <a:gd name="T42" fmla="*/ 38 w 57"/>
                    <a:gd name="T43" fmla="*/ 57 h 58"/>
                    <a:gd name="T44" fmla="*/ 38 w 57"/>
                    <a:gd name="T45" fmla="*/ 42 h 58"/>
                    <a:gd name="T46" fmla="*/ 38 w 57"/>
                    <a:gd name="T47" fmla="*/ 27 h 58"/>
                    <a:gd name="T48" fmla="*/ 37 w 57"/>
                    <a:gd name="T49" fmla="*/ 23 h 58"/>
                    <a:gd name="T50" fmla="*/ 36 w 57"/>
                    <a:gd name="T51" fmla="*/ 19 h 58"/>
                    <a:gd name="T52" fmla="*/ 30 w 57"/>
                    <a:gd name="T53" fmla="*/ 15 h 58"/>
                    <a:gd name="T54" fmla="*/ 25 w 57"/>
                    <a:gd name="T55" fmla="*/ 15 h 58"/>
                    <a:gd name="T56" fmla="*/ 20 w 57"/>
                    <a:gd name="T57" fmla="*/ 19 h 58"/>
                    <a:gd name="T58" fmla="*/ 18 w 57"/>
                    <a:gd name="T59" fmla="*/ 23 h 58"/>
                    <a:gd name="T60" fmla="*/ 18 w 57"/>
                    <a:gd name="T61" fmla="*/ 26 h 58"/>
                    <a:gd name="T62" fmla="*/ 18 w 57"/>
                    <a:gd name="T63" fmla="*/ 57 h 58"/>
                    <a:gd name="T64" fmla="*/ 18 w 57"/>
                    <a:gd name="T6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8">
                      <a:moveTo>
                        <a:pt x="18" y="58"/>
                      </a:moveTo>
                      <a:cubicBezTo>
                        <a:pt x="12" y="58"/>
                        <a:pt x="6" y="58"/>
                        <a:pt x="0" y="58"/>
                      </a:cubicBezTo>
                      <a:cubicBezTo>
                        <a:pt x="0" y="39"/>
                        <a:pt x="0" y="20"/>
                        <a:pt x="0" y="1"/>
                      </a:cubicBezTo>
                      <a:cubicBezTo>
                        <a:pt x="0" y="1"/>
                        <a:pt x="18" y="1"/>
                        <a:pt x="18" y="1"/>
                      </a:cubicBezTo>
                      <a:cubicBezTo>
                        <a:pt x="18" y="4"/>
                        <a:pt x="18" y="7"/>
                        <a:pt x="18" y="9"/>
                      </a:cubicBezTo>
                      <a:cubicBezTo>
                        <a:pt x="18" y="9"/>
                        <a:pt x="18" y="9"/>
                        <a:pt x="18" y="9"/>
                      </a:cubicBezTo>
                      <a:cubicBezTo>
                        <a:pt x="18" y="9"/>
                        <a:pt x="18" y="9"/>
                        <a:pt x="19" y="9"/>
                      </a:cubicBezTo>
                      <a:cubicBezTo>
                        <a:pt x="20" y="7"/>
                        <a:pt x="21" y="6"/>
                        <a:pt x="22" y="5"/>
                      </a:cubicBezTo>
                      <a:cubicBezTo>
                        <a:pt x="25" y="2"/>
                        <a:pt x="27" y="1"/>
                        <a:pt x="31" y="1"/>
                      </a:cubicBezTo>
                      <a:cubicBezTo>
                        <a:pt x="33" y="0"/>
                        <a:pt x="35" y="0"/>
                        <a:pt x="38" y="0"/>
                      </a:cubicBezTo>
                      <a:cubicBezTo>
                        <a:pt x="40" y="1"/>
                        <a:pt x="43" y="1"/>
                        <a:pt x="45" y="2"/>
                      </a:cubicBezTo>
                      <a:cubicBezTo>
                        <a:pt x="49" y="4"/>
                        <a:pt x="51" y="7"/>
                        <a:pt x="53" y="10"/>
                      </a:cubicBezTo>
                      <a:cubicBezTo>
                        <a:pt x="55" y="13"/>
                        <a:pt x="55" y="15"/>
                        <a:pt x="56" y="18"/>
                      </a:cubicBezTo>
                      <a:cubicBezTo>
                        <a:pt x="56" y="20"/>
                        <a:pt x="57" y="23"/>
                        <a:pt x="57" y="25"/>
                      </a:cubicBezTo>
                      <a:cubicBezTo>
                        <a:pt x="57" y="36"/>
                        <a:pt x="57" y="47"/>
                        <a:pt x="57" y="57"/>
                      </a:cubicBezTo>
                      <a:cubicBezTo>
                        <a:pt x="57" y="57"/>
                        <a:pt x="57" y="57"/>
                        <a:pt x="57" y="58"/>
                      </a:cubicBezTo>
                      <a:cubicBezTo>
                        <a:pt x="57" y="58"/>
                        <a:pt x="57" y="58"/>
                        <a:pt x="57" y="58"/>
                      </a:cubicBezTo>
                      <a:cubicBezTo>
                        <a:pt x="57" y="58"/>
                        <a:pt x="57" y="58"/>
                        <a:pt x="57" y="58"/>
                      </a:cubicBezTo>
                      <a:cubicBezTo>
                        <a:pt x="56" y="58"/>
                        <a:pt x="56" y="58"/>
                        <a:pt x="56" y="58"/>
                      </a:cubicBezTo>
                      <a:cubicBezTo>
                        <a:pt x="50" y="58"/>
                        <a:pt x="44" y="58"/>
                        <a:pt x="38" y="58"/>
                      </a:cubicBezTo>
                      <a:cubicBezTo>
                        <a:pt x="38" y="58"/>
                        <a:pt x="38" y="58"/>
                        <a:pt x="38" y="58"/>
                      </a:cubicBezTo>
                      <a:cubicBezTo>
                        <a:pt x="38" y="58"/>
                        <a:pt x="38" y="57"/>
                        <a:pt x="38" y="57"/>
                      </a:cubicBezTo>
                      <a:cubicBezTo>
                        <a:pt x="38" y="52"/>
                        <a:pt x="38" y="47"/>
                        <a:pt x="38" y="42"/>
                      </a:cubicBezTo>
                      <a:cubicBezTo>
                        <a:pt x="38" y="37"/>
                        <a:pt x="38" y="32"/>
                        <a:pt x="38" y="27"/>
                      </a:cubicBezTo>
                      <a:cubicBezTo>
                        <a:pt x="38" y="26"/>
                        <a:pt x="38" y="24"/>
                        <a:pt x="37" y="23"/>
                      </a:cubicBezTo>
                      <a:cubicBezTo>
                        <a:pt x="37" y="21"/>
                        <a:pt x="37" y="20"/>
                        <a:pt x="36" y="19"/>
                      </a:cubicBezTo>
                      <a:cubicBezTo>
                        <a:pt x="35" y="17"/>
                        <a:pt x="33" y="15"/>
                        <a:pt x="30" y="15"/>
                      </a:cubicBezTo>
                      <a:cubicBezTo>
                        <a:pt x="28" y="15"/>
                        <a:pt x="27" y="15"/>
                        <a:pt x="25" y="15"/>
                      </a:cubicBezTo>
                      <a:cubicBezTo>
                        <a:pt x="23" y="16"/>
                        <a:pt x="21" y="18"/>
                        <a:pt x="20" y="19"/>
                      </a:cubicBezTo>
                      <a:cubicBezTo>
                        <a:pt x="19" y="21"/>
                        <a:pt x="19" y="22"/>
                        <a:pt x="18" y="23"/>
                      </a:cubicBezTo>
                      <a:cubicBezTo>
                        <a:pt x="18" y="24"/>
                        <a:pt x="18" y="25"/>
                        <a:pt x="18" y="26"/>
                      </a:cubicBezTo>
                      <a:cubicBezTo>
                        <a:pt x="18" y="36"/>
                        <a:pt x="18" y="47"/>
                        <a:pt x="18" y="57"/>
                      </a:cubicBezTo>
                      <a:cubicBezTo>
                        <a:pt x="18" y="57"/>
                        <a:pt x="18" y="57"/>
                        <a:pt x="18" y="5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algn="l" defTabSz="950938" rtl="0">
                    <a:defRPr/>
                  </a:pPr>
                  <a:endParaRPr lang="fr-fr" sz="1800" dirty="0">
                    <a:gradFill>
                      <a:gsLst>
                        <a:gs pos="83000">
                          <a:srgbClr val="3C3C41"/>
                        </a:gs>
                        <a:gs pos="100000">
                          <a:srgbClr val="3C3C41"/>
                        </a:gs>
                      </a:gsLst>
                      <a:lin ang="5400000" scaled="1"/>
                    </a:gradFill>
                    <a:latin typeface="Segoe UI Semilight"/>
                    <a:cs typeface="Segoe UI Semilight"/>
                  </a:endParaRPr>
                </a:p>
              </p:txBody>
            </p:sp>
            <p:sp>
              <p:nvSpPr>
                <p:cNvPr id="51" name="Freeform 19">
                  <a:extLst>
                    <a:ext uri="{FF2B5EF4-FFF2-40B4-BE49-F238E27FC236}">
                      <a16:creationId xmlns:a16="http://schemas.microsoft.com/office/drawing/2014/main" id="{97306CE3-3AF4-47F8-A95B-F6F3208C292B}"/>
                    </a:ext>
                  </a:extLst>
                </p:cNvPr>
                <p:cNvSpPr>
                  <a:spLocks/>
                </p:cNvSpPr>
                <p:nvPr/>
              </p:nvSpPr>
              <p:spPr bwMode="auto">
                <a:xfrm>
                  <a:off x="7962287" y="3378024"/>
                  <a:ext cx="128705" cy="416943"/>
                </a:xfrm>
                <a:custGeom>
                  <a:avLst/>
                  <a:gdLst>
                    <a:gd name="T0" fmla="*/ 0 w 18"/>
                    <a:gd name="T1" fmla="*/ 0 h 57"/>
                    <a:gd name="T2" fmla="*/ 18 w 18"/>
                    <a:gd name="T3" fmla="*/ 0 h 57"/>
                    <a:gd name="T4" fmla="*/ 18 w 18"/>
                    <a:gd name="T5" fmla="*/ 57 h 57"/>
                    <a:gd name="T6" fmla="*/ 0 w 18"/>
                    <a:gd name="T7" fmla="*/ 57 h 57"/>
                    <a:gd name="T8" fmla="*/ 0 w 18"/>
                    <a:gd name="T9" fmla="*/ 0 h 57"/>
                  </a:gdLst>
                  <a:ahLst/>
                  <a:cxnLst>
                    <a:cxn ang="0">
                      <a:pos x="T0" y="T1"/>
                    </a:cxn>
                    <a:cxn ang="0">
                      <a:pos x="T2" y="T3"/>
                    </a:cxn>
                    <a:cxn ang="0">
                      <a:pos x="T4" y="T5"/>
                    </a:cxn>
                    <a:cxn ang="0">
                      <a:pos x="T6" y="T7"/>
                    </a:cxn>
                    <a:cxn ang="0">
                      <a:pos x="T8" y="T9"/>
                    </a:cxn>
                  </a:cxnLst>
                  <a:rect l="0" t="0" r="r" b="b"/>
                  <a:pathLst>
                    <a:path w="18" h="57">
                      <a:moveTo>
                        <a:pt x="0" y="0"/>
                      </a:moveTo>
                      <a:cubicBezTo>
                        <a:pt x="6" y="0"/>
                        <a:pt x="12" y="0"/>
                        <a:pt x="18" y="0"/>
                      </a:cubicBezTo>
                      <a:cubicBezTo>
                        <a:pt x="18" y="1"/>
                        <a:pt x="18" y="56"/>
                        <a:pt x="18" y="57"/>
                      </a:cubicBezTo>
                      <a:cubicBezTo>
                        <a:pt x="12" y="57"/>
                        <a:pt x="6" y="57"/>
                        <a:pt x="0" y="57"/>
                      </a:cubicBezTo>
                      <a:cubicBezTo>
                        <a:pt x="0" y="38"/>
                        <a:pt x="0" y="19"/>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algn="l" defTabSz="950938" rtl="0">
                    <a:defRPr/>
                  </a:pPr>
                  <a:endParaRPr lang="fr-fr" sz="1800" dirty="0">
                    <a:gradFill>
                      <a:gsLst>
                        <a:gs pos="83000">
                          <a:srgbClr val="3C3C41"/>
                        </a:gs>
                        <a:gs pos="100000">
                          <a:srgbClr val="3C3C41"/>
                        </a:gs>
                      </a:gsLst>
                      <a:lin ang="5400000" scaled="1"/>
                    </a:gradFill>
                    <a:latin typeface="Segoe UI Semilight"/>
                    <a:cs typeface="Segoe UI Semilight"/>
                  </a:endParaRPr>
                </a:p>
              </p:txBody>
            </p:sp>
            <p:sp>
              <p:nvSpPr>
                <p:cNvPr id="52" name="Freeform 20">
                  <a:extLst>
                    <a:ext uri="{FF2B5EF4-FFF2-40B4-BE49-F238E27FC236}">
                      <a16:creationId xmlns:a16="http://schemas.microsoft.com/office/drawing/2014/main" id="{CEC91F73-7B45-4A54-AD72-051CF780D656}"/>
                    </a:ext>
                  </a:extLst>
                </p:cNvPr>
                <p:cNvSpPr>
                  <a:spLocks/>
                </p:cNvSpPr>
                <p:nvPr/>
              </p:nvSpPr>
              <p:spPr bwMode="auto">
                <a:xfrm>
                  <a:off x="7949087" y="3181415"/>
                  <a:ext cx="155107" cy="145761"/>
                </a:xfrm>
                <a:custGeom>
                  <a:avLst/>
                  <a:gdLst>
                    <a:gd name="T0" fmla="*/ 11 w 22"/>
                    <a:gd name="T1" fmla="*/ 0 h 20"/>
                    <a:gd name="T2" fmla="*/ 16 w 22"/>
                    <a:gd name="T3" fmla="*/ 1 h 20"/>
                    <a:gd name="T4" fmla="*/ 21 w 22"/>
                    <a:gd name="T5" fmla="*/ 8 h 20"/>
                    <a:gd name="T6" fmla="*/ 20 w 22"/>
                    <a:gd name="T7" fmla="*/ 14 h 20"/>
                    <a:gd name="T8" fmla="*/ 15 w 22"/>
                    <a:gd name="T9" fmla="*/ 19 h 20"/>
                    <a:gd name="T10" fmla="*/ 10 w 22"/>
                    <a:gd name="T11" fmla="*/ 20 h 20"/>
                    <a:gd name="T12" fmla="*/ 6 w 22"/>
                    <a:gd name="T13" fmla="*/ 19 h 20"/>
                    <a:gd name="T14" fmla="*/ 0 w 22"/>
                    <a:gd name="T15" fmla="*/ 11 h 20"/>
                    <a:gd name="T16" fmla="*/ 1 w 22"/>
                    <a:gd name="T17" fmla="*/ 6 h 20"/>
                    <a:gd name="T18" fmla="*/ 7 w 22"/>
                    <a:gd name="T19" fmla="*/ 1 h 20"/>
                    <a:gd name="T20" fmla="*/ 11 w 22"/>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0">
                      <a:moveTo>
                        <a:pt x="11" y="0"/>
                      </a:moveTo>
                      <a:cubicBezTo>
                        <a:pt x="13" y="0"/>
                        <a:pt x="14" y="1"/>
                        <a:pt x="16" y="1"/>
                      </a:cubicBezTo>
                      <a:cubicBezTo>
                        <a:pt x="19" y="2"/>
                        <a:pt x="20" y="5"/>
                        <a:pt x="21" y="8"/>
                      </a:cubicBezTo>
                      <a:cubicBezTo>
                        <a:pt x="22" y="10"/>
                        <a:pt x="21" y="12"/>
                        <a:pt x="20" y="14"/>
                      </a:cubicBezTo>
                      <a:cubicBezTo>
                        <a:pt x="19" y="17"/>
                        <a:pt x="17" y="18"/>
                        <a:pt x="15" y="19"/>
                      </a:cubicBezTo>
                      <a:cubicBezTo>
                        <a:pt x="13" y="20"/>
                        <a:pt x="12" y="20"/>
                        <a:pt x="10" y="20"/>
                      </a:cubicBezTo>
                      <a:cubicBezTo>
                        <a:pt x="8" y="20"/>
                        <a:pt x="7" y="19"/>
                        <a:pt x="6" y="19"/>
                      </a:cubicBezTo>
                      <a:cubicBezTo>
                        <a:pt x="3" y="17"/>
                        <a:pt x="1" y="15"/>
                        <a:pt x="0" y="11"/>
                      </a:cubicBezTo>
                      <a:cubicBezTo>
                        <a:pt x="0" y="9"/>
                        <a:pt x="1" y="7"/>
                        <a:pt x="1" y="6"/>
                      </a:cubicBezTo>
                      <a:cubicBezTo>
                        <a:pt x="3" y="3"/>
                        <a:pt x="4" y="2"/>
                        <a:pt x="7" y="1"/>
                      </a:cubicBezTo>
                      <a:cubicBezTo>
                        <a:pt x="8" y="1"/>
                        <a:pt x="10" y="0"/>
                        <a:pt x="1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algn="l" defTabSz="950938" rtl="0">
                    <a:defRPr/>
                  </a:pPr>
                  <a:endParaRPr lang="fr-fr" sz="1800" dirty="0">
                    <a:gradFill>
                      <a:gsLst>
                        <a:gs pos="83000">
                          <a:srgbClr val="3C3C41"/>
                        </a:gs>
                        <a:gs pos="100000">
                          <a:srgbClr val="3C3C41"/>
                        </a:gs>
                      </a:gsLst>
                      <a:lin ang="5400000" scaled="1"/>
                    </a:gradFill>
                    <a:latin typeface="Segoe UI Semilight"/>
                    <a:cs typeface="Segoe UI Semilight"/>
                  </a:endParaRPr>
                </a:p>
              </p:txBody>
            </p:sp>
          </p:grpSp>
        </p:grpSp>
      </p:grpSp>
      <p:grpSp>
        <p:nvGrpSpPr>
          <p:cNvPr id="7" name="Group 6">
            <a:extLst>
              <a:ext uri="{FF2B5EF4-FFF2-40B4-BE49-F238E27FC236}">
                <a16:creationId xmlns:a16="http://schemas.microsoft.com/office/drawing/2014/main" id="{36D99B2E-674E-476F-9711-430022DB8B60}"/>
              </a:ext>
            </a:extLst>
          </p:cNvPr>
          <p:cNvGrpSpPr/>
          <p:nvPr/>
        </p:nvGrpSpPr>
        <p:grpSpPr>
          <a:xfrm>
            <a:off x="4391462" y="2767239"/>
            <a:ext cx="2259272" cy="1965741"/>
            <a:chOff x="4391462" y="2767239"/>
            <a:chExt cx="2259272" cy="1965741"/>
          </a:xfrm>
        </p:grpSpPr>
        <p:sp>
          <p:nvSpPr>
            <p:cNvPr id="44" name="Rectangle 43">
              <a:extLst>
                <a:ext uri="{FF2B5EF4-FFF2-40B4-BE49-F238E27FC236}">
                  <a16:creationId xmlns:a16="http://schemas.microsoft.com/office/drawing/2014/main" id="{EDF97E9F-14B4-442E-A569-82B1B4C44557}"/>
                </a:ext>
              </a:extLst>
            </p:cNvPr>
            <p:cNvSpPr/>
            <p:nvPr/>
          </p:nvSpPr>
          <p:spPr bwMode="auto">
            <a:xfrm>
              <a:off x="4391462" y="4365635"/>
              <a:ext cx="2259272" cy="367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0938">
                <a:lnSpc>
                  <a:spcPct val="90000"/>
                </a:lnSpc>
                <a:spcAft>
                  <a:spcPts val="612"/>
                </a:spcAft>
                <a:defRPr/>
              </a:pPr>
              <a:r>
                <a:rPr lang="fr-fr" sz="2650" b="0" i="0" u="none" spc="10" baseline="0" dirty="0">
                  <a:solidFill>
                    <a:schemeClr val="tx1"/>
                  </a:solidFill>
                  <a:latin typeface="Segoe UI Semibold"/>
                  <a:cs typeface="Segoe UI Semibold"/>
                </a:rPr>
                <a:t>Dynamics 365</a:t>
              </a:r>
              <a:r>
                <a:rPr lang="fr-fr" sz="2650" spc="10" dirty="0">
                  <a:solidFill>
                    <a:schemeClr val="tx1"/>
                  </a:solidFill>
                  <a:latin typeface="Segoe UI Semibold"/>
                  <a:cs typeface="Segoe UI Semibold"/>
                </a:rPr>
                <a:t> </a:t>
              </a:r>
              <a:endParaRPr lang="fr-fr" sz="2650" b="0" i="0" u="none" spc="10" baseline="0" dirty="0">
                <a:solidFill>
                  <a:schemeClr val="tx1"/>
                </a:solidFill>
                <a:latin typeface="Segoe UI Semibold" panose="020B0702040204020203" pitchFamily="34" charset="0"/>
                <a:cs typeface="Segoe UI Semibold" panose="020B0702040204020203" pitchFamily="34" charset="0"/>
              </a:endParaRPr>
            </a:p>
          </p:txBody>
        </p:sp>
        <p:grpSp>
          <p:nvGrpSpPr>
            <p:cNvPr id="6" name="Group 5">
              <a:extLst>
                <a:ext uri="{FF2B5EF4-FFF2-40B4-BE49-F238E27FC236}">
                  <a16:creationId xmlns:a16="http://schemas.microsoft.com/office/drawing/2014/main" id="{233B3C1A-09BD-44A7-B505-C49049224BD6}"/>
                </a:ext>
              </a:extLst>
            </p:cNvPr>
            <p:cNvGrpSpPr/>
            <p:nvPr/>
          </p:nvGrpSpPr>
          <p:grpSpPr>
            <a:xfrm>
              <a:off x="4800146" y="2767239"/>
              <a:ext cx="1441904" cy="1441904"/>
              <a:chOff x="4800146" y="2767239"/>
              <a:chExt cx="1441904" cy="1441904"/>
            </a:xfrm>
          </p:grpSpPr>
          <p:grpSp>
            <p:nvGrpSpPr>
              <p:cNvPr id="2" name="Group 1">
                <a:extLst>
                  <a:ext uri="{FF2B5EF4-FFF2-40B4-BE49-F238E27FC236}">
                    <a16:creationId xmlns:a16="http://schemas.microsoft.com/office/drawing/2014/main" id="{9E33C804-B05D-49D4-8F77-3DEED0795060}"/>
                  </a:ext>
                </a:extLst>
              </p:cNvPr>
              <p:cNvGrpSpPr/>
              <p:nvPr/>
            </p:nvGrpSpPr>
            <p:grpSpPr>
              <a:xfrm>
                <a:off x="4800146" y="2767239"/>
                <a:ext cx="1441904" cy="1441904"/>
                <a:chOff x="4800146" y="2767239"/>
                <a:chExt cx="1441904" cy="1441904"/>
              </a:xfrm>
            </p:grpSpPr>
            <p:sp>
              <p:nvSpPr>
                <p:cNvPr id="36" name="Oval 35">
                  <a:extLst>
                    <a:ext uri="{FF2B5EF4-FFF2-40B4-BE49-F238E27FC236}">
                      <a16:creationId xmlns:a16="http://schemas.microsoft.com/office/drawing/2014/main" id="{8EF5588F-4F0B-4A16-90BF-C4032C73CC2F}"/>
                    </a:ext>
                  </a:extLst>
                </p:cNvPr>
                <p:cNvSpPr/>
                <p:nvPr/>
              </p:nvSpPr>
              <p:spPr bwMode="auto">
                <a:xfrm>
                  <a:off x="4800146" y="2767239"/>
                  <a:ext cx="1441904" cy="1441904"/>
                </a:xfrm>
                <a:prstGeom prst="ellipse">
                  <a:avLst/>
                </a:prstGeom>
                <a:solidFill>
                  <a:schemeClr val="bg1"/>
                </a:solidFill>
                <a:ln w="3175" cap="rnd">
                  <a:solidFill>
                    <a:schemeClr val="bg1">
                      <a:lumMod val="95000"/>
                    </a:schemeClr>
                  </a:solidFill>
                  <a:prstDash val="dash"/>
                  <a:headEnd type="none" w="med" len="med"/>
                  <a:tailEnd type="none" w="med" len="med"/>
                </a:ln>
                <a:effectLst>
                  <a:outerShdw blurRad="50800" dist="38100" dir="540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1BC241B1-2DF4-4495-9DC3-A89788F2E4C1}"/>
                    </a:ext>
                  </a:extLst>
                </p:cNvPr>
                <p:cNvSpPr/>
                <p:nvPr/>
              </p:nvSpPr>
              <p:spPr bwMode="auto">
                <a:xfrm>
                  <a:off x="4906264" y="2873357"/>
                  <a:ext cx="1229668" cy="1229668"/>
                </a:xfrm>
                <a:prstGeom prst="ellipse">
                  <a:avLst/>
                </a:prstGeom>
                <a:solidFill>
                  <a:srgbClr val="008272"/>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grpSp>
          <p:pic>
            <p:nvPicPr>
              <p:cNvPr id="57" name="Picture 4" descr="Dynamics CRM 365 Logo - LogoDix">
                <a:extLst>
                  <a:ext uri="{FF2B5EF4-FFF2-40B4-BE49-F238E27FC236}">
                    <a16:creationId xmlns:a16="http://schemas.microsoft.com/office/drawing/2014/main" id="{34877A05-3DE3-4405-A569-1EDE7B871FF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068471" y="3015130"/>
                <a:ext cx="949882" cy="9461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 name="Group 10">
            <a:extLst>
              <a:ext uri="{FF2B5EF4-FFF2-40B4-BE49-F238E27FC236}">
                <a16:creationId xmlns:a16="http://schemas.microsoft.com/office/drawing/2014/main" id="{B31FFEB4-84C4-43C7-9324-38E5EA509D28}"/>
              </a:ext>
            </a:extLst>
          </p:cNvPr>
          <p:cNvGrpSpPr/>
          <p:nvPr/>
        </p:nvGrpSpPr>
        <p:grpSpPr>
          <a:xfrm>
            <a:off x="10128738" y="2767239"/>
            <a:ext cx="1744122" cy="1965741"/>
            <a:chOff x="10128738" y="2767239"/>
            <a:chExt cx="1744122" cy="1965741"/>
          </a:xfrm>
        </p:grpSpPr>
        <p:sp>
          <p:nvSpPr>
            <p:cNvPr id="46" name="Rectangle 45">
              <a:extLst>
                <a:ext uri="{FF2B5EF4-FFF2-40B4-BE49-F238E27FC236}">
                  <a16:creationId xmlns:a16="http://schemas.microsoft.com/office/drawing/2014/main" id="{C091AB6E-D4B7-4DD9-9BF0-E2C9118E9F89}"/>
                </a:ext>
              </a:extLst>
            </p:cNvPr>
            <p:cNvSpPr/>
            <p:nvPr/>
          </p:nvSpPr>
          <p:spPr bwMode="auto">
            <a:xfrm>
              <a:off x="10128738" y="4365635"/>
              <a:ext cx="1744122" cy="367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0938" rtl="0">
                <a:lnSpc>
                  <a:spcPct val="90000"/>
                </a:lnSpc>
                <a:spcAft>
                  <a:spcPts val="612"/>
                </a:spcAft>
                <a:defRPr/>
              </a:pPr>
              <a:r>
                <a:rPr lang="fr-fr" sz="2650" b="0" i="0" u="none" spc="10" baseline="0" dirty="0">
                  <a:solidFill>
                    <a:schemeClr val="tx1"/>
                  </a:solidFill>
                  <a:latin typeface="Segoe UI Semibold"/>
                  <a:cs typeface="Segoe UI Semibold"/>
                </a:rPr>
                <a:t>Office 365</a:t>
              </a:r>
            </a:p>
          </p:txBody>
        </p:sp>
        <p:grpSp>
          <p:nvGrpSpPr>
            <p:cNvPr id="5" name="Group 4">
              <a:extLst>
                <a:ext uri="{FF2B5EF4-FFF2-40B4-BE49-F238E27FC236}">
                  <a16:creationId xmlns:a16="http://schemas.microsoft.com/office/drawing/2014/main" id="{5CE335E3-8498-47DE-B26E-AF072E3A8CB4}"/>
                </a:ext>
              </a:extLst>
            </p:cNvPr>
            <p:cNvGrpSpPr/>
            <p:nvPr/>
          </p:nvGrpSpPr>
          <p:grpSpPr>
            <a:xfrm>
              <a:off x="10279847" y="2767239"/>
              <a:ext cx="1441904" cy="1441904"/>
              <a:chOff x="10279847" y="2767239"/>
              <a:chExt cx="1441904" cy="1441904"/>
            </a:xfrm>
          </p:grpSpPr>
          <p:sp>
            <p:nvSpPr>
              <p:cNvPr id="42" name="Oval 41">
                <a:extLst>
                  <a:ext uri="{FF2B5EF4-FFF2-40B4-BE49-F238E27FC236}">
                    <a16:creationId xmlns:a16="http://schemas.microsoft.com/office/drawing/2014/main" id="{3DA284DB-9A65-4D77-9CE3-F869BA774094}"/>
                  </a:ext>
                </a:extLst>
              </p:cNvPr>
              <p:cNvSpPr/>
              <p:nvPr/>
            </p:nvSpPr>
            <p:spPr bwMode="auto">
              <a:xfrm>
                <a:off x="10279847" y="2767239"/>
                <a:ext cx="1441904" cy="1441904"/>
              </a:xfrm>
              <a:prstGeom prst="ellipse">
                <a:avLst/>
              </a:prstGeom>
              <a:solidFill>
                <a:schemeClr val="bg1"/>
              </a:solidFill>
              <a:ln w="3175" cap="rnd">
                <a:solidFill>
                  <a:schemeClr val="bg1">
                    <a:lumMod val="95000"/>
                  </a:schemeClr>
                </a:solidFill>
                <a:prstDash val="dash"/>
                <a:headEnd type="none" w="med" len="med"/>
                <a:tailEnd type="none" w="med" len="med"/>
              </a:ln>
              <a:effectLst>
                <a:outerShdw blurRad="50800" dist="38100" dir="540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4F3EBF7B-A289-4EEF-91AF-BD0DBE3C3FF4}"/>
                  </a:ext>
                </a:extLst>
              </p:cNvPr>
              <p:cNvSpPr/>
              <p:nvPr/>
            </p:nvSpPr>
            <p:spPr bwMode="auto">
              <a:xfrm>
                <a:off x="10385965" y="2873357"/>
                <a:ext cx="1229668" cy="1229668"/>
              </a:xfrm>
              <a:prstGeom prst="ellipse">
                <a:avLst/>
              </a:prstGeom>
              <a:solidFill>
                <a:srgbClr val="D93A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pic>
            <p:nvPicPr>
              <p:cNvPr id="68" name="Graphic 67">
                <a:extLst>
                  <a:ext uri="{FF2B5EF4-FFF2-40B4-BE49-F238E27FC236}">
                    <a16:creationId xmlns:a16="http://schemas.microsoft.com/office/drawing/2014/main" id="{9F028935-E45A-48AB-84C1-B5035F193E6E}"/>
                  </a:ext>
                </a:extLst>
              </p:cNvPr>
              <p:cNvPicPr>
                <a:picLocks noChangeAspect="1"/>
              </p:cNvPicPr>
              <p:nvPr/>
            </p:nvPicPr>
            <p:blipFill rotWithShape="1">
              <a:blip r:embed="rId5">
                <a:lum bright="100000"/>
                <a:extLst>
                  <a:ext uri="{28A0092B-C50C-407E-A947-70E740481C1C}">
                    <a14:useLocalDpi xmlns:a14="http://schemas.microsoft.com/office/drawing/2010/main" val="0"/>
                  </a:ext>
                  <a:ext uri="{96DAC541-7B7A-43D3-8B79-37D633B846F1}">
                    <asvg:svgBlip xmlns:asvg="http://schemas.microsoft.com/office/drawing/2016/SVG/main" r:embed="rId6"/>
                  </a:ext>
                </a:extLst>
              </a:blip>
              <a:srcRect l="27492" t="24091" r="27492" b="24091"/>
              <a:stretch/>
            </p:blipFill>
            <p:spPr>
              <a:xfrm>
                <a:off x="10643617" y="3077030"/>
                <a:ext cx="714364" cy="822322"/>
              </a:xfrm>
              <a:prstGeom prst="rect">
                <a:avLst/>
              </a:prstGeom>
            </p:spPr>
          </p:pic>
        </p:grpSp>
      </p:grpSp>
    </p:spTree>
    <p:extLst>
      <p:ext uri="{BB962C8B-B14F-4D97-AF65-F5344CB8AC3E}">
        <p14:creationId xmlns:p14="http://schemas.microsoft.com/office/powerpoint/2010/main" val="3048428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CFDC9C89-570D-45BA-8F91-2DDE01EE756E}"/>
              </a:ext>
            </a:extLst>
          </p:cNvPr>
          <p:cNvSpPr/>
          <p:nvPr/>
        </p:nvSpPr>
        <p:spPr bwMode="auto">
          <a:xfrm>
            <a:off x="2546020" y="0"/>
            <a:ext cx="555995" cy="3398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60BAE4CC-895B-45CD-8AAC-C2B79BA07756}"/>
              </a:ext>
            </a:extLst>
          </p:cNvPr>
          <p:cNvSpPr/>
          <p:nvPr/>
        </p:nvSpPr>
        <p:spPr bwMode="auto">
          <a:xfrm>
            <a:off x="2546020" y="3398520"/>
            <a:ext cx="9890455" cy="1325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chemeClr val="bg1"/>
              </a:solidFill>
              <a:ea typeface="Segoe UI" pitchFamily="34" charset="0"/>
              <a:cs typeface="Segoe UI" pitchFamily="34" charset="0"/>
            </a:endParaRPr>
          </a:p>
        </p:txBody>
      </p:sp>
      <p:sp>
        <p:nvSpPr>
          <p:cNvPr id="49" name="Freeform: Shape 48">
            <a:extLst>
              <a:ext uri="{FF2B5EF4-FFF2-40B4-BE49-F238E27FC236}">
                <a16:creationId xmlns:a16="http://schemas.microsoft.com/office/drawing/2014/main" id="{0E4D0818-4407-41D2-B5CA-2E846E6E3799}"/>
              </a:ext>
            </a:extLst>
          </p:cNvPr>
          <p:cNvSpPr/>
          <p:nvPr/>
        </p:nvSpPr>
        <p:spPr bwMode="auto">
          <a:xfrm flipH="1" flipV="1">
            <a:off x="2810256" y="3755136"/>
            <a:ext cx="8766046" cy="245612"/>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50" name="Graphic 12">
            <a:extLst>
              <a:ext uri="{FF2B5EF4-FFF2-40B4-BE49-F238E27FC236}">
                <a16:creationId xmlns:a16="http://schemas.microsoft.com/office/drawing/2014/main" id="{ECC2B5C4-AAC4-48AB-AD19-5B4241B92537}"/>
              </a:ext>
            </a:extLst>
          </p:cNvPr>
          <p:cNvGrpSpPr/>
          <p:nvPr/>
        </p:nvGrpSpPr>
        <p:grpSpPr>
          <a:xfrm flipV="1">
            <a:off x="11451289" y="3536991"/>
            <a:ext cx="246001" cy="172643"/>
            <a:chOff x="5753695" y="3190875"/>
            <a:chExt cx="669726" cy="470014"/>
          </a:xfrm>
          <a:solidFill>
            <a:schemeClr val="bg1"/>
          </a:solidFill>
        </p:grpSpPr>
        <p:sp>
          <p:nvSpPr>
            <p:cNvPr id="52" name="Freeform: Shape 51">
              <a:extLst>
                <a:ext uri="{FF2B5EF4-FFF2-40B4-BE49-F238E27FC236}">
                  <a16:creationId xmlns:a16="http://schemas.microsoft.com/office/drawing/2014/main" id="{AB11B5BC-D987-42F6-ACEB-60589F6A9C77}"/>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solidFill>
                  <a:schemeClr val="bg1"/>
                </a:solidFill>
                <a:cs typeface="Segoe UI"/>
              </a:endParaRPr>
            </a:p>
          </p:txBody>
        </p:sp>
        <p:sp>
          <p:nvSpPr>
            <p:cNvPr id="54" name="Freeform: Shape 53">
              <a:extLst>
                <a:ext uri="{FF2B5EF4-FFF2-40B4-BE49-F238E27FC236}">
                  <a16:creationId xmlns:a16="http://schemas.microsoft.com/office/drawing/2014/main" id="{CBE0C314-6C2B-42D1-A693-7729A4BF6D7D}"/>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solidFill>
                  <a:schemeClr val="bg1"/>
                </a:solidFill>
                <a:cs typeface="Segoe UI"/>
              </a:endParaRPr>
            </a:p>
          </p:txBody>
        </p:sp>
      </p:grpSp>
      <p:sp>
        <p:nvSpPr>
          <p:cNvPr id="55" name="Freeform: Shape 54">
            <a:extLst>
              <a:ext uri="{FF2B5EF4-FFF2-40B4-BE49-F238E27FC236}">
                <a16:creationId xmlns:a16="http://schemas.microsoft.com/office/drawing/2014/main" id="{6C10294B-DC7F-40CB-842D-E735BB3ECF4B}"/>
              </a:ext>
            </a:extLst>
          </p:cNvPr>
          <p:cNvSpPr/>
          <p:nvPr/>
        </p:nvSpPr>
        <p:spPr bwMode="auto">
          <a:xfrm>
            <a:off x="2810257" y="478631"/>
            <a:ext cx="4914516" cy="234601"/>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fr-fr" sz="1800" dirty="0">
              <a:cs typeface="Segoe UI"/>
            </a:endParaRPr>
          </a:p>
        </p:txBody>
      </p:sp>
      <p:grpSp>
        <p:nvGrpSpPr>
          <p:cNvPr id="56" name="Graphic 12">
            <a:extLst>
              <a:ext uri="{FF2B5EF4-FFF2-40B4-BE49-F238E27FC236}">
                <a16:creationId xmlns:a16="http://schemas.microsoft.com/office/drawing/2014/main" id="{A7624A3C-5F86-481A-83F0-AC0B9F8D13D6}"/>
              </a:ext>
            </a:extLst>
          </p:cNvPr>
          <p:cNvGrpSpPr/>
          <p:nvPr/>
        </p:nvGrpSpPr>
        <p:grpSpPr>
          <a:xfrm flipH="1">
            <a:off x="2686591" y="769744"/>
            <a:ext cx="246001" cy="172643"/>
            <a:chOff x="5753695" y="3190875"/>
            <a:chExt cx="669726" cy="470014"/>
          </a:xfrm>
          <a:solidFill>
            <a:schemeClr val="bg1"/>
          </a:solidFill>
        </p:grpSpPr>
        <p:sp>
          <p:nvSpPr>
            <p:cNvPr id="57" name="Freeform: Shape 56">
              <a:extLst>
                <a:ext uri="{FF2B5EF4-FFF2-40B4-BE49-F238E27FC236}">
                  <a16:creationId xmlns:a16="http://schemas.microsoft.com/office/drawing/2014/main" id="{B8D0A8B2-5BE0-4C0D-B1E4-7EA3EEE023A4}"/>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sp>
          <p:nvSpPr>
            <p:cNvPr id="58" name="Freeform: Shape 57">
              <a:extLst>
                <a:ext uri="{FF2B5EF4-FFF2-40B4-BE49-F238E27FC236}">
                  <a16:creationId xmlns:a16="http://schemas.microsoft.com/office/drawing/2014/main" id="{03B8BFEE-BB10-4832-A0C9-6E34FF3F153C}"/>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endParaRPr lang="fr-fr" sz="1800" dirty="0">
                <a:cs typeface="Segoe UI"/>
              </a:endParaRPr>
            </a:p>
          </p:txBody>
        </p:sp>
      </p:grpSp>
      <p:cxnSp>
        <p:nvCxnSpPr>
          <p:cNvPr id="59" name="Straight Connector 58">
            <a:extLst>
              <a:ext uri="{FF2B5EF4-FFF2-40B4-BE49-F238E27FC236}">
                <a16:creationId xmlns:a16="http://schemas.microsoft.com/office/drawing/2014/main" id="{9F5FD300-AF55-49A9-814A-E53F1DA91F95}"/>
              </a:ext>
            </a:extLst>
          </p:cNvPr>
          <p:cNvCxnSpPr>
            <a:cxnSpLocks/>
          </p:cNvCxnSpPr>
          <p:nvPr/>
        </p:nvCxnSpPr>
        <p:spPr>
          <a:xfrm>
            <a:off x="2810257" y="1028700"/>
            <a:ext cx="0" cy="2972048"/>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D19075D0-9E4E-460E-8557-E834FB262984}"/>
              </a:ext>
            </a:extLst>
          </p:cNvPr>
          <p:cNvSpPr/>
          <p:nvPr/>
        </p:nvSpPr>
        <p:spPr bwMode="auto">
          <a:xfrm>
            <a:off x="2697164"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1" name="Text Placeholder 3">
            <a:extLst>
              <a:ext uri="{FF2B5EF4-FFF2-40B4-BE49-F238E27FC236}">
                <a16:creationId xmlns:a16="http://schemas.microsoft.com/office/drawing/2014/main" id="{E5803FFA-2F60-4B69-BF32-D76BF65CB7B9}"/>
              </a:ext>
            </a:extLst>
          </p:cNvPr>
          <p:cNvSpPr txBox="1">
            <a:spLocks/>
          </p:cNvSpPr>
          <p:nvPr/>
        </p:nvSpPr>
        <p:spPr>
          <a:xfrm>
            <a:off x="3304370"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Situation</a:t>
            </a:r>
          </a:p>
        </p:txBody>
      </p:sp>
      <p:sp>
        <p:nvSpPr>
          <p:cNvPr id="62" name="Oval 61">
            <a:extLst>
              <a:ext uri="{FF2B5EF4-FFF2-40B4-BE49-F238E27FC236}">
                <a16:creationId xmlns:a16="http://schemas.microsoft.com/office/drawing/2014/main" id="{BA904B6C-A250-4FE3-8655-1B07858C9720}"/>
              </a:ext>
            </a:extLst>
          </p:cNvPr>
          <p:cNvSpPr/>
          <p:nvPr/>
        </p:nvSpPr>
        <p:spPr bwMode="auto">
          <a:xfrm>
            <a:off x="5679868"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3" name="Text Placeholder 3">
            <a:extLst>
              <a:ext uri="{FF2B5EF4-FFF2-40B4-BE49-F238E27FC236}">
                <a16:creationId xmlns:a16="http://schemas.microsoft.com/office/drawing/2014/main" id="{1EA048BB-72FF-4596-93B8-4AB6AC033159}"/>
              </a:ext>
            </a:extLst>
          </p:cNvPr>
          <p:cNvSpPr txBox="1">
            <a:spLocks/>
          </p:cNvSpPr>
          <p:nvPr/>
        </p:nvSpPr>
        <p:spPr>
          <a:xfrm>
            <a:off x="6287074"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Solution</a:t>
            </a:r>
          </a:p>
        </p:txBody>
      </p:sp>
      <p:sp>
        <p:nvSpPr>
          <p:cNvPr id="64" name="Oval 63">
            <a:extLst>
              <a:ext uri="{FF2B5EF4-FFF2-40B4-BE49-F238E27FC236}">
                <a16:creationId xmlns:a16="http://schemas.microsoft.com/office/drawing/2014/main" id="{57AEA0EA-F20E-4D0D-9429-6819035B5B28}"/>
              </a:ext>
            </a:extLst>
          </p:cNvPr>
          <p:cNvSpPr/>
          <p:nvPr/>
        </p:nvSpPr>
        <p:spPr bwMode="auto">
          <a:xfrm>
            <a:off x="8717327" y="4128788"/>
            <a:ext cx="518476" cy="5184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fr-fr" sz="2000" dirty="0">
              <a:solidFill>
                <a:srgbClr val="FFFFFF"/>
              </a:solidFill>
              <a:ea typeface="Segoe UI" pitchFamily="34" charset="0"/>
              <a:cs typeface="Segoe UI" pitchFamily="34" charset="0"/>
            </a:endParaRPr>
          </a:p>
        </p:txBody>
      </p:sp>
      <p:sp>
        <p:nvSpPr>
          <p:cNvPr id="65" name="Text Placeholder 3">
            <a:extLst>
              <a:ext uri="{FF2B5EF4-FFF2-40B4-BE49-F238E27FC236}">
                <a16:creationId xmlns:a16="http://schemas.microsoft.com/office/drawing/2014/main" id="{553D76D1-1F86-4F0E-B449-81301AB00D9A}"/>
              </a:ext>
            </a:extLst>
          </p:cNvPr>
          <p:cNvSpPr txBox="1">
            <a:spLocks/>
          </p:cNvSpPr>
          <p:nvPr/>
        </p:nvSpPr>
        <p:spPr>
          <a:xfrm>
            <a:off x="9324533" y="4288014"/>
            <a:ext cx="1582823" cy="200025"/>
          </a:xfrm>
          <a:prstGeom prst="rect">
            <a:avLst/>
          </a:prstGeom>
        </p:spPr>
        <p:txBody>
          <a:bodyPr lIns="0" tIns="0" rIns="0" b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600" b="0" i="0" u="none" baseline="0" dirty="0">
                <a:solidFill>
                  <a:schemeClr val="bg1"/>
                </a:solidFill>
                <a:latin typeface="+mj-lt"/>
                <a:cs typeface="Segoe UI"/>
              </a:rPr>
              <a:t>Impact</a:t>
            </a:r>
          </a:p>
        </p:txBody>
      </p:sp>
      <p:sp>
        <p:nvSpPr>
          <p:cNvPr id="66" name="POI_ECAF" title="Icon of a map location marker">
            <a:extLst>
              <a:ext uri="{FF2B5EF4-FFF2-40B4-BE49-F238E27FC236}">
                <a16:creationId xmlns:a16="http://schemas.microsoft.com/office/drawing/2014/main" id="{70ABABC0-E4EF-4C22-AFBF-6D1354AD74A9}"/>
              </a:ext>
            </a:extLst>
          </p:cNvPr>
          <p:cNvSpPr>
            <a:spLocks noChangeAspect="1" noEditPoints="1"/>
          </p:cNvSpPr>
          <p:nvPr/>
        </p:nvSpPr>
        <p:spPr bwMode="auto">
          <a:xfrm>
            <a:off x="2857800" y="4230246"/>
            <a:ext cx="197206" cy="3155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67" name="Processing_E9F5" title="Icon of two interlocked gears">
            <a:extLst>
              <a:ext uri="{FF2B5EF4-FFF2-40B4-BE49-F238E27FC236}">
                <a16:creationId xmlns:a16="http://schemas.microsoft.com/office/drawing/2014/main" id="{89EA91CB-601C-4C10-9D7F-FE33ED6F7EC2}"/>
              </a:ext>
            </a:extLst>
          </p:cNvPr>
          <p:cNvSpPr>
            <a:spLocks noChangeAspect="1" noEditPoints="1"/>
          </p:cNvSpPr>
          <p:nvPr/>
        </p:nvSpPr>
        <p:spPr bwMode="auto">
          <a:xfrm>
            <a:off x="5775215" y="4245288"/>
            <a:ext cx="327783" cy="28547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cs typeface="Segoe UI"/>
            </a:endParaRPr>
          </a:p>
        </p:txBody>
      </p:sp>
      <p:sp>
        <p:nvSpPr>
          <p:cNvPr id="68" name="check" title="Icon of a checkmark">
            <a:extLst>
              <a:ext uri="{FF2B5EF4-FFF2-40B4-BE49-F238E27FC236}">
                <a16:creationId xmlns:a16="http://schemas.microsoft.com/office/drawing/2014/main" id="{CE9A25B5-DD04-4C77-9E2A-1E4BED9B1F55}"/>
              </a:ext>
            </a:extLst>
          </p:cNvPr>
          <p:cNvSpPr>
            <a:spLocks noChangeAspect="1"/>
          </p:cNvSpPr>
          <p:nvPr/>
        </p:nvSpPr>
        <p:spPr bwMode="auto">
          <a:xfrm>
            <a:off x="8834528" y="4287732"/>
            <a:ext cx="284074" cy="200589"/>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900" dirty="0">
              <a:gradFill>
                <a:gsLst>
                  <a:gs pos="0">
                    <a:srgbClr val="505050"/>
                  </a:gs>
                  <a:gs pos="100000">
                    <a:srgbClr val="505050"/>
                  </a:gs>
                </a:gsLst>
                <a:lin ang="5400000" scaled="1"/>
              </a:gradFill>
            </a:endParaRPr>
          </a:p>
        </p:txBody>
      </p:sp>
      <p:sp>
        <p:nvSpPr>
          <p:cNvPr id="26" name="Rectangle 25">
            <a:extLst>
              <a:ext uri="{FF2B5EF4-FFF2-40B4-BE49-F238E27FC236}">
                <a16:creationId xmlns:a16="http://schemas.microsoft.com/office/drawing/2014/main" id="{811F95DA-6250-47FB-B96E-7CF854C3FEC9}"/>
              </a:ext>
            </a:extLst>
          </p:cNvPr>
          <p:cNvSpPr/>
          <p:nvPr/>
        </p:nvSpPr>
        <p:spPr bwMode="auto">
          <a:xfrm>
            <a:off x="1" y="-1"/>
            <a:ext cx="2470150" cy="6994525"/>
          </a:xfrm>
          <a:prstGeom prst="rect">
            <a:avLst/>
          </a:prstGeom>
          <a:solidFill>
            <a:srgbClr val="E6E6E6"/>
          </a:solidFill>
          <a:ln w="10795" cap="flat" cmpd="sng" algn="ctr">
            <a:noFill/>
            <a:prstDash val="solid"/>
          </a:ln>
          <a:effectLst/>
        </p:spPr>
        <p:txBody>
          <a:bodyPr rtlCol="0" anchor="ctr"/>
          <a:lstStyle/>
          <a:p>
            <a:pPr algn="ctr" defTabSz="913676" rtl="0"/>
            <a:endParaRPr lang="fr-fr" sz="1750" kern="0" dirty="0">
              <a:latin typeface="Segoe UI"/>
              <a:cs typeface="Segoe UI"/>
            </a:endParaRPr>
          </a:p>
        </p:txBody>
      </p:sp>
      <p:cxnSp>
        <p:nvCxnSpPr>
          <p:cNvPr id="27" name="Straight Connector 26">
            <a:extLst>
              <a:ext uri="{FF2B5EF4-FFF2-40B4-BE49-F238E27FC236}">
                <a16:creationId xmlns:a16="http://schemas.microsoft.com/office/drawing/2014/main" id="{8F346FC8-14B7-4F4A-92A6-3D22DBE821B6}"/>
              </a:ext>
            </a:extLst>
          </p:cNvPr>
          <p:cNvCxnSpPr>
            <a:cxnSpLocks/>
          </p:cNvCxnSpPr>
          <p:nvPr/>
        </p:nvCxnSpPr>
        <p:spPr>
          <a:xfrm>
            <a:off x="2546021" y="-1"/>
            <a:ext cx="0" cy="6994525"/>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2CA6D14C-A423-4E94-BBA8-CC186C87B5F4}"/>
              </a:ext>
            </a:extLst>
          </p:cNvPr>
          <p:cNvSpPr txBox="1">
            <a:spLocks/>
          </p:cNvSpPr>
          <p:nvPr/>
        </p:nvSpPr>
        <p:spPr>
          <a:xfrm>
            <a:off x="455613" y="2876551"/>
            <a:ext cx="1882919" cy="3181350"/>
          </a:xfrm>
          <a:prstGeom prst="rect">
            <a:avLst/>
          </a:prstGeom>
        </p:spPr>
        <p:txBody>
          <a:bodyPr lIns="0" tIns="0" rIns="0" bIns="0" anchor="t" anchorCtr="0"/>
          <a:lstStyle>
            <a:lvl1pPr marL="0" indent="0" algn="l" defTabSz="932597" rtl="0" eaLnBrk="1" latinLnBrk="0" hangingPunct="1">
              <a:lnSpc>
                <a:spcPct val="100000"/>
              </a:lnSpc>
              <a:spcBef>
                <a:spcPts val="1020"/>
              </a:spcBef>
              <a:buFont typeface="Arial" panose="020B0604020202020204" pitchFamily="34" charset="0"/>
              <a:buNone/>
              <a:defRPr sz="1020" b="1" i="0" kern="1200">
                <a:solidFill>
                  <a:schemeClr val="bg1">
                    <a:lumMod val="50000"/>
                  </a:schemeClr>
                </a:solidFill>
                <a:latin typeface="Segoe UI Semibold" panose="020B0502040204020203" pitchFamily="34" charset="0"/>
                <a:ea typeface="+mn-ea"/>
                <a:cs typeface="Segoe UI Semibold"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algn="l" rtl="0">
              <a:spcBef>
                <a:spcPts val="1200"/>
              </a:spcBef>
              <a:defRPr/>
            </a:pPr>
            <a:r>
              <a:rPr lang="fr-fr" sz="1100" b="1" i="0" u="none" baseline="0" dirty="0">
                <a:solidFill>
                  <a:schemeClr val="tx1"/>
                </a:solidFill>
                <a:latin typeface="Segoe UI Semibold"/>
                <a:cs typeface="Segoe UI Semibold"/>
              </a:rPr>
              <a:t>Client :</a:t>
            </a:r>
            <a:br>
              <a:rPr lang="fr-fr" sz="1100" dirty="0"/>
            </a:br>
            <a:r>
              <a:rPr lang="fr-fr" sz="1100" b="0" i="0" u="none" baseline="0" dirty="0">
                <a:solidFill>
                  <a:schemeClr val="tx1"/>
                </a:solidFill>
                <a:latin typeface="Segoe UI Semilight"/>
                <a:cs typeface="Segoe UI Semilight"/>
              </a:rPr>
              <a:t>HP</a:t>
            </a:r>
          </a:p>
          <a:p>
            <a:pPr algn="l" rtl="0">
              <a:spcBef>
                <a:spcPts val="1200"/>
              </a:spcBef>
              <a:defRPr/>
            </a:pPr>
            <a:r>
              <a:rPr lang="fr-fr" sz="1100" b="1" i="0" u="none" baseline="0" dirty="0">
                <a:solidFill>
                  <a:schemeClr val="tx1"/>
                </a:solidFill>
                <a:latin typeface="Segoe UI Semibold"/>
                <a:cs typeface="Segoe UI Semibold"/>
              </a:rPr>
              <a:t>Secteur d</a:t>
            </a:r>
            <a:r>
              <a:rPr lang="fr-FR" sz="1100" b="1" i="0" u="none" baseline="0" dirty="0">
                <a:solidFill>
                  <a:schemeClr val="tx1"/>
                </a:solidFill>
                <a:latin typeface="Segoe UI Semibold"/>
                <a:cs typeface="Segoe UI Semibold"/>
              </a:rPr>
              <a:t>’</a:t>
            </a:r>
            <a:r>
              <a:rPr lang="fr-fr" sz="1100" b="1" i="0" u="none" baseline="0" dirty="0">
                <a:solidFill>
                  <a:schemeClr val="tx1"/>
                </a:solidFill>
                <a:latin typeface="Segoe UI Semibold"/>
                <a:cs typeface="Segoe UI Semibold"/>
              </a:rPr>
              <a:t>activité :</a:t>
            </a:r>
            <a:br>
              <a:rPr lang="fr-fr" sz="1100" dirty="0"/>
            </a:br>
            <a:r>
              <a:rPr lang="fr-fr" sz="1100" b="0" i="0" u="none" baseline="0" dirty="0">
                <a:solidFill>
                  <a:schemeClr val="tx1"/>
                </a:solidFill>
                <a:latin typeface="Segoe UI Semibold"/>
                <a:cs typeface="Segoe UI Semibold"/>
              </a:rPr>
              <a:t>Fabrication</a:t>
            </a:r>
          </a:p>
          <a:p>
            <a:pPr algn="l" rtl="0">
              <a:spcBef>
                <a:spcPts val="1200"/>
              </a:spcBef>
              <a:defRPr/>
            </a:pPr>
            <a:r>
              <a:rPr lang="fr-fr" sz="1100" b="1" i="0" u="none" baseline="0" dirty="0">
                <a:solidFill>
                  <a:schemeClr val="tx1"/>
                </a:solidFill>
                <a:latin typeface="Segoe UI Semibold"/>
                <a:cs typeface="Segoe UI Semibold"/>
              </a:rPr>
              <a:t>Taille :</a:t>
            </a:r>
            <a:br>
              <a:rPr lang="fr-fr" sz="1100" dirty="0"/>
            </a:br>
            <a:r>
              <a:rPr lang="fr-fr" sz="1100" b="0" i="0" u="none" baseline="0" dirty="0">
                <a:solidFill>
                  <a:schemeClr val="tx1"/>
                </a:solidFill>
                <a:latin typeface="Segoe UI Semibold"/>
                <a:cs typeface="Segoe UI Semibold"/>
              </a:rPr>
              <a:t>55 000 employés</a:t>
            </a:r>
            <a:endParaRPr lang="fr-fr" sz="1100" dirty="0">
              <a:solidFill>
                <a:schemeClr val="tx1"/>
              </a:solidFill>
              <a:latin typeface="Segoe UI Semibold"/>
              <a:cs typeface="Segoe UI Semibold"/>
            </a:endParaRPr>
          </a:p>
          <a:p>
            <a:pPr algn="l" rtl="0">
              <a:spcBef>
                <a:spcPts val="1200"/>
              </a:spcBef>
              <a:defRPr/>
            </a:pPr>
            <a:r>
              <a:rPr lang="fr-fr" sz="1100" b="1" i="0" u="none" baseline="0" dirty="0">
                <a:solidFill>
                  <a:schemeClr val="tx1"/>
                </a:solidFill>
                <a:latin typeface="Segoe UI Semibold"/>
                <a:cs typeface="Segoe UI Semibold"/>
              </a:rPr>
              <a:t>Pays :</a:t>
            </a:r>
            <a:br>
              <a:rPr lang="fr-fr" sz="1100" dirty="0"/>
            </a:br>
            <a:r>
              <a:rPr lang="fr-fr" sz="1100" b="0" i="0" u="none" baseline="0" dirty="0">
                <a:solidFill>
                  <a:schemeClr val="tx1"/>
                </a:solidFill>
                <a:latin typeface="Segoe UI Semilight"/>
                <a:cs typeface="Segoe UI Semilight"/>
              </a:rPr>
              <a:t>États-Unis</a:t>
            </a:r>
          </a:p>
          <a:p>
            <a:pPr algn="l" rtl="0">
              <a:spcBef>
                <a:spcPts val="1200"/>
              </a:spcBef>
              <a:defRPr/>
            </a:pPr>
            <a:r>
              <a:rPr lang="fr-fr" sz="1100" b="1" i="0" u="none" baseline="0" dirty="0">
                <a:solidFill>
                  <a:schemeClr val="tx1"/>
                </a:solidFill>
                <a:latin typeface="Segoe UI Semibold"/>
                <a:cs typeface="Segoe UI Semibold"/>
              </a:rPr>
              <a:t>Produits et services :</a:t>
            </a:r>
            <a:br>
              <a:rPr lang="fr-fr" sz="1100" dirty="0"/>
            </a:br>
            <a:r>
              <a:rPr lang="fr-fr" sz="1100" b="0" i="0" u="none" baseline="0" dirty="0" err="1">
                <a:solidFill>
                  <a:schemeClr val="tx1"/>
                </a:solidFill>
                <a:latin typeface="Segoe UI Semibold"/>
                <a:cs typeface="Segoe UI Semibold"/>
              </a:rPr>
              <a:t>VMicrosoft</a:t>
            </a:r>
            <a:r>
              <a:rPr lang="fr-fr" sz="1100" b="0" i="0" u="none" baseline="0" dirty="0">
                <a:solidFill>
                  <a:schemeClr val="tx1"/>
                </a:solidFill>
                <a:latin typeface="Segoe UI Semibold"/>
                <a:cs typeface="Segoe UI Semibold"/>
              </a:rPr>
              <a:t> Relationship Sales</a:t>
            </a:r>
          </a:p>
          <a:p>
            <a:pPr algn="l" rtl="0">
              <a:spcBef>
                <a:spcPts val="1200"/>
              </a:spcBef>
              <a:defRPr/>
            </a:pPr>
            <a:r>
              <a:rPr lang="fr-fr" sz="1100" b="1" i="0" u="none" baseline="0" dirty="0">
                <a:latin typeface="Segoe UI Semibold"/>
                <a:cs typeface="Segoe UI Semibold"/>
                <a:hlinkClick r:id="rId3"/>
              </a:rPr>
              <a:t>Consultez toute l</a:t>
            </a:r>
            <a:r>
              <a:rPr lang="fr-FR" sz="1100" b="1" i="0" u="none" baseline="0" dirty="0">
                <a:latin typeface="Segoe UI Semibold"/>
                <a:cs typeface="Segoe UI Semibold"/>
                <a:hlinkClick r:id="rId3"/>
              </a:rPr>
              <a:t>’</a:t>
            </a:r>
            <a:r>
              <a:rPr lang="fr-fr" sz="1100" b="1" i="0" u="none" baseline="0" dirty="0">
                <a:latin typeface="Segoe UI Semibold"/>
                <a:cs typeface="Segoe UI Semibold"/>
                <a:hlinkClick r:id="rId3"/>
              </a:rPr>
              <a:t>histoire ici</a:t>
            </a:r>
            <a:endParaRPr lang="fr-fr" sz="1100" b="0">
              <a:latin typeface="Segoe UI Semibold"/>
              <a:cs typeface="Segoe UI Semibold"/>
            </a:endParaRPr>
          </a:p>
        </p:txBody>
      </p:sp>
      <p:sp>
        <p:nvSpPr>
          <p:cNvPr id="31" name="Text Placeholder 1">
            <a:extLst>
              <a:ext uri="{FF2B5EF4-FFF2-40B4-BE49-F238E27FC236}">
                <a16:creationId xmlns:a16="http://schemas.microsoft.com/office/drawing/2014/main" id="{6EEF2F09-579B-4A79-8E84-C558AE87AF5F}"/>
              </a:ext>
            </a:extLst>
          </p:cNvPr>
          <p:cNvSpPr txBox="1">
            <a:spLocks/>
          </p:cNvSpPr>
          <p:nvPr/>
        </p:nvSpPr>
        <p:spPr>
          <a:xfrm>
            <a:off x="3179677" y="588418"/>
            <a:ext cx="4253341" cy="2459581"/>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spcBef>
                <a:spcPts val="0"/>
              </a:spcBef>
              <a:buNone/>
            </a:pPr>
            <a:r>
              <a:rPr lang="fr-fr" sz="2000" b="0" i="0" u="none" baseline="0" dirty="0">
                <a:cs typeface="Segoe UI"/>
              </a:rPr>
              <a:t>Nous constatons mois après mois une multiplication par 10 de la contribution de LinkedIn et Dynamics à notre pipeline commercial. On peut qualifier cela de véritable croissance exponentielle.</a:t>
            </a:r>
          </a:p>
        </p:txBody>
      </p:sp>
      <p:sp>
        <p:nvSpPr>
          <p:cNvPr id="32" name="Text Placeholder 3">
            <a:extLst>
              <a:ext uri="{FF2B5EF4-FFF2-40B4-BE49-F238E27FC236}">
                <a16:creationId xmlns:a16="http://schemas.microsoft.com/office/drawing/2014/main" id="{9628719E-70BB-43F6-B26E-C0BE669CC7E0}"/>
              </a:ext>
            </a:extLst>
          </p:cNvPr>
          <p:cNvSpPr txBox="1">
            <a:spLocks/>
          </p:cNvSpPr>
          <p:nvPr/>
        </p:nvSpPr>
        <p:spPr>
          <a:xfrm>
            <a:off x="3179677" y="3556000"/>
            <a:ext cx="7685947" cy="200025"/>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2000" b="0" i="0" u="none" baseline="0" dirty="0">
                <a:solidFill>
                  <a:schemeClr val="bg1"/>
                </a:solidFill>
                <a:latin typeface="+mj-lt"/>
                <a:cs typeface="+mn-cs"/>
              </a:rPr>
              <a:t>Vincent Brissot, </a:t>
            </a:r>
            <a:r>
              <a:rPr lang="fr-fr" sz="1400" b="0" i="0" u="none" baseline="0" dirty="0">
                <a:solidFill>
                  <a:schemeClr val="bg1"/>
                </a:solidFill>
                <a:cs typeface="+mn-cs"/>
              </a:rPr>
              <a:t>Vice </a:t>
            </a:r>
            <a:r>
              <a:rPr lang="fr-fr" sz="1400" b="0" i="0" u="none" baseline="0" dirty="0" err="1">
                <a:solidFill>
                  <a:schemeClr val="bg1"/>
                </a:solidFill>
                <a:cs typeface="+mn-cs"/>
              </a:rPr>
              <a:t>President</a:t>
            </a:r>
            <a:r>
              <a:rPr lang="fr-fr" sz="1400" b="0" i="0" u="none" baseline="0" dirty="0">
                <a:solidFill>
                  <a:schemeClr val="bg1"/>
                </a:solidFill>
                <a:cs typeface="+mn-cs"/>
              </a:rPr>
              <a:t> of Digital Automation and Channel Operations, HP</a:t>
            </a:r>
            <a:endParaRPr lang="fr-fr" sz="1400" b="0" i="0" u="none" baseline="0" dirty="0">
              <a:solidFill>
                <a:schemeClr val="bg1"/>
              </a:solidFill>
              <a:cs typeface="Segoe UI"/>
            </a:endParaRPr>
          </a:p>
        </p:txBody>
      </p:sp>
      <p:sp>
        <p:nvSpPr>
          <p:cNvPr id="35" name="Text Placeholder 11">
            <a:extLst>
              <a:ext uri="{FF2B5EF4-FFF2-40B4-BE49-F238E27FC236}">
                <a16:creationId xmlns:a16="http://schemas.microsoft.com/office/drawing/2014/main" id="{79BAE192-0C81-4B28-BC5F-A4921025409F}"/>
              </a:ext>
            </a:extLst>
          </p:cNvPr>
          <p:cNvSpPr txBox="1">
            <a:spLocks/>
          </p:cNvSpPr>
          <p:nvPr/>
        </p:nvSpPr>
        <p:spPr>
          <a:xfrm>
            <a:off x="5679867" y="4765779"/>
            <a:ext cx="3037460"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fr-fr" sz="1400" b="0" i="0" u="none" baseline="0" dirty="0">
                <a:cs typeface="Segoe UI"/>
              </a:rPr>
              <a:t>HP a formé 1 200 commerciaux </a:t>
            </a:r>
            <a:br>
              <a:rPr lang="fr-fr" sz="1400" b="0" i="0" u="none" baseline="0" dirty="0"/>
            </a:br>
            <a:r>
              <a:rPr lang="fr-fr" sz="1400" b="0" i="0" u="none" baseline="0" dirty="0">
                <a:cs typeface="Segoe UI"/>
              </a:rPr>
              <a:t>à l</a:t>
            </a:r>
            <a:r>
              <a:rPr lang="fr-FR" sz="1400" b="0" i="0" u="none" baseline="0" dirty="0">
                <a:cs typeface="Segoe UI"/>
              </a:rPr>
              <a:t>’</a:t>
            </a:r>
            <a:r>
              <a:rPr lang="fr-fr" sz="1400" b="0" i="0" u="none" baseline="0" dirty="0">
                <a:cs typeface="Segoe UI"/>
              </a:rPr>
              <a:t>utilisation de Microsoft Relationship Sales. Ces derniers peuvent ainsi accéder au réseau LinkedIn, qui compte plus de 590 millions de professionnels, </a:t>
            </a:r>
            <a:br>
              <a:rPr lang="fr-fr" sz="1400" b="0" i="0" u="none" baseline="0" dirty="0"/>
            </a:br>
            <a:r>
              <a:rPr lang="fr-fr" sz="1400" b="0" i="0" u="none" baseline="0" dirty="0">
                <a:cs typeface="Segoe UI"/>
              </a:rPr>
              <a:t>et découvrir de nouvelles approches numériques pour l</a:t>
            </a:r>
            <a:r>
              <a:rPr lang="fr-FR" sz="1400" b="0" i="0" u="none" baseline="0" dirty="0">
                <a:cs typeface="Segoe UI"/>
              </a:rPr>
              <a:t>’</a:t>
            </a:r>
            <a:r>
              <a:rPr lang="fr-fr" sz="1400" b="0" i="0" u="none" baseline="0" dirty="0">
                <a:cs typeface="Segoe UI"/>
              </a:rPr>
              <a:t>identification </a:t>
            </a:r>
            <a:br>
              <a:rPr lang="fr-fr" sz="1400" b="0" i="0" u="none" baseline="0" dirty="0"/>
            </a:br>
            <a:r>
              <a:rPr lang="fr-fr" sz="1400" b="0" i="0" u="none" baseline="0" dirty="0">
                <a:cs typeface="Segoe UI"/>
              </a:rPr>
              <a:t>de clients et la prise de contact.</a:t>
            </a:r>
            <a:r>
              <a:rPr lang="fr-fr" sz="1400" dirty="0">
                <a:cs typeface="Segoe UI"/>
              </a:rPr>
              <a:t> </a:t>
            </a:r>
            <a:endParaRPr lang="fr-fr" sz="1400" b="0" i="0" u="none" baseline="0" dirty="0"/>
          </a:p>
        </p:txBody>
      </p:sp>
      <p:sp>
        <p:nvSpPr>
          <p:cNvPr id="36" name="Text Placeholder 14">
            <a:extLst>
              <a:ext uri="{FF2B5EF4-FFF2-40B4-BE49-F238E27FC236}">
                <a16:creationId xmlns:a16="http://schemas.microsoft.com/office/drawing/2014/main" id="{1B07D6DD-DDA7-4599-A298-979D1CEDB76E}"/>
              </a:ext>
            </a:extLst>
          </p:cNvPr>
          <p:cNvSpPr txBox="1">
            <a:spLocks/>
          </p:cNvSpPr>
          <p:nvPr/>
        </p:nvSpPr>
        <p:spPr>
          <a:xfrm>
            <a:off x="8717327" y="4765779"/>
            <a:ext cx="3263534"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400" b="0" i="0" u="none" baseline="0" dirty="0">
                <a:cs typeface="Segoe UI"/>
              </a:rPr>
              <a:t>En quatre mois, les contributions au pipeline commercial d</a:t>
            </a:r>
            <a:r>
              <a:rPr lang="fr-FR" sz="1400" b="0" i="0" u="none" baseline="0" dirty="0">
                <a:cs typeface="Segoe UI"/>
              </a:rPr>
              <a:t>’</a:t>
            </a:r>
            <a:r>
              <a:rPr lang="fr-fr" sz="1400" b="0" i="0" u="none" baseline="0" dirty="0">
                <a:cs typeface="Segoe UI"/>
              </a:rPr>
              <a:t>HP attribuables </a:t>
            </a:r>
            <a:br>
              <a:rPr lang="fr-fr" sz="1400" b="0" i="0" u="none" baseline="0" dirty="0"/>
            </a:br>
            <a:r>
              <a:rPr lang="fr-fr" sz="1400" b="0" i="0" u="none" baseline="0" dirty="0">
                <a:cs typeface="Segoe UI"/>
              </a:rPr>
              <a:t>à Microsoft Relationship Sales ont progressé de 6 500 %. Les commerciaux indiquent par ailleurs que Microsoft Relationship Sales les aide à trouver </a:t>
            </a:r>
            <a:br>
              <a:rPr lang="fr-fr" sz="1400" b="0" i="0" u="none" baseline="0" dirty="0"/>
            </a:br>
            <a:r>
              <a:rPr lang="fr-fr" sz="1400" b="0" i="0" u="none" baseline="0" dirty="0">
                <a:cs typeface="Segoe UI"/>
              </a:rPr>
              <a:t>et à entrer en contact avec les bons prospects.</a:t>
            </a:r>
          </a:p>
        </p:txBody>
      </p:sp>
      <p:sp>
        <p:nvSpPr>
          <p:cNvPr id="37" name="Text Placeholder 4">
            <a:extLst>
              <a:ext uri="{FF2B5EF4-FFF2-40B4-BE49-F238E27FC236}">
                <a16:creationId xmlns:a16="http://schemas.microsoft.com/office/drawing/2014/main" id="{1ADD0BB3-1ECC-45D3-808A-283AE5B42BA4}"/>
              </a:ext>
            </a:extLst>
          </p:cNvPr>
          <p:cNvSpPr txBox="1">
            <a:spLocks/>
          </p:cNvSpPr>
          <p:nvPr/>
        </p:nvSpPr>
        <p:spPr>
          <a:xfrm>
            <a:off x="2794144" y="4765779"/>
            <a:ext cx="2707175" cy="1499273"/>
          </a:xfrm>
          <a:prstGeom prst="rect">
            <a:avLst/>
          </a:prstGeom>
        </p:spPr>
        <p:txBody>
          <a:bodyPr lIns="0" tIns="0" rIns="0" bIns="0" anchor="t"/>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gn="l" rtl="0">
              <a:buNone/>
            </a:pPr>
            <a:r>
              <a:rPr lang="fr-fr" sz="1400" b="0" i="0" u="none" baseline="0" dirty="0">
                <a:cs typeface="Segoe UI"/>
              </a:rPr>
              <a:t>À l</a:t>
            </a:r>
            <a:r>
              <a:rPr lang="fr-FR" sz="1400" b="0" i="0" u="none" baseline="0" dirty="0">
                <a:cs typeface="Segoe UI"/>
              </a:rPr>
              <a:t>’</a:t>
            </a:r>
            <a:r>
              <a:rPr lang="fr-fr" sz="1400" b="0" i="0" u="none" baseline="0" dirty="0">
                <a:cs typeface="Segoe UI"/>
              </a:rPr>
              <a:t>approche de son 80e anniversaire, HP cherchait </a:t>
            </a:r>
            <a:br>
              <a:rPr lang="fr-fr" sz="1400" b="0" i="0" u="none" baseline="0" dirty="0"/>
            </a:br>
            <a:r>
              <a:rPr lang="fr-fr" sz="1400" b="0" i="0" u="none" baseline="0" dirty="0">
                <a:cs typeface="Segoe UI"/>
              </a:rPr>
              <a:t>de nouveaux moyens de se constituer une force de vente d</a:t>
            </a:r>
            <a:r>
              <a:rPr lang="fr-FR" sz="1400" b="0" i="0" u="none" baseline="0" dirty="0">
                <a:cs typeface="Segoe UI"/>
              </a:rPr>
              <a:t>’</a:t>
            </a:r>
            <a:r>
              <a:rPr lang="fr-fr" sz="1400" b="0" i="0" u="none" baseline="0" dirty="0">
                <a:cs typeface="Segoe UI"/>
              </a:rPr>
              <a:t>avenir. Sa principale priorité </a:t>
            </a:r>
            <a:br>
              <a:rPr lang="fr-fr" sz="1400" b="0" i="0" u="none" baseline="0" dirty="0"/>
            </a:br>
            <a:r>
              <a:rPr lang="fr-fr" sz="1400" b="0" i="0" u="none" baseline="0" dirty="0">
                <a:cs typeface="Segoe UI"/>
              </a:rPr>
              <a:t>était d</a:t>
            </a:r>
            <a:r>
              <a:rPr lang="fr-FR" sz="1400" b="0" i="0" u="none" baseline="0" dirty="0">
                <a:cs typeface="Segoe UI"/>
              </a:rPr>
              <a:t>’</a:t>
            </a:r>
            <a:r>
              <a:rPr lang="fr-fr" sz="1400" b="0" i="0" u="none" baseline="0" dirty="0">
                <a:cs typeface="Segoe UI"/>
              </a:rPr>
              <a:t>améliorer le potentiel </a:t>
            </a:r>
            <a:br>
              <a:rPr lang="fr-fr" sz="1400" b="0" i="0" u="none" baseline="0" dirty="0"/>
            </a:br>
            <a:r>
              <a:rPr lang="fr-fr" sz="1400" b="0" i="0" u="none" baseline="0" dirty="0">
                <a:cs typeface="Segoe UI"/>
              </a:rPr>
              <a:t>de vente de ses équipes commerciales à travers le monde.</a:t>
            </a:r>
          </a:p>
        </p:txBody>
      </p:sp>
      <p:cxnSp>
        <p:nvCxnSpPr>
          <p:cNvPr id="42" name="Straight Connector 41">
            <a:extLst>
              <a:ext uri="{FF2B5EF4-FFF2-40B4-BE49-F238E27FC236}">
                <a16:creationId xmlns:a16="http://schemas.microsoft.com/office/drawing/2014/main" id="{41AE27AE-D2CE-4538-872A-D76E55120F7F}"/>
              </a:ext>
            </a:extLst>
          </p:cNvPr>
          <p:cNvCxnSpPr>
            <a:cxnSpLocks/>
          </p:cNvCxnSpPr>
          <p:nvPr/>
        </p:nvCxnSpPr>
        <p:spPr>
          <a:xfrm>
            <a:off x="5577190" y="4128788"/>
            <a:ext cx="0" cy="2595862"/>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D1A69AE-42A7-411C-8A35-D315B1416D35}"/>
              </a:ext>
            </a:extLst>
          </p:cNvPr>
          <p:cNvCxnSpPr>
            <a:cxnSpLocks/>
          </p:cNvCxnSpPr>
          <p:nvPr/>
        </p:nvCxnSpPr>
        <p:spPr>
          <a:xfrm>
            <a:off x="8614648" y="4128788"/>
            <a:ext cx="0" cy="2595862"/>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pic>
        <p:nvPicPr>
          <p:cNvPr id="51" name="Picture Placeholder 3">
            <a:extLst>
              <a:ext uri="{FF2B5EF4-FFF2-40B4-BE49-F238E27FC236}">
                <a16:creationId xmlns:a16="http://schemas.microsoft.com/office/drawing/2014/main" id="{E103B874-CDA4-449E-97D0-DD09953411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5613" y="457200"/>
            <a:ext cx="811212" cy="8112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descr="A group of people sitting at a table&#10;&#10;Description automatically generated">
            <a:extLst>
              <a:ext uri="{FF2B5EF4-FFF2-40B4-BE49-F238E27FC236}">
                <a16:creationId xmlns:a16="http://schemas.microsoft.com/office/drawing/2014/main" id="{5FB4CA07-0570-465F-8C9A-4CABA2B371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559" t="4864" r="74" b="3021"/>
          <a:stretch/>
        </p:blipFill>
        <p:spPr bwMode="auto">
          <a:xfrm>
            <a:off x="7724775" y="1"/>
            <a:ext cx="4711699" cy="3356987"/>
          </a:xfrm>
          <a:custGeom>
            <a:avLst/>
            <a:gdLst>
              <a:gd name="connsiteX0" fmla="*/ 0 w 4711699"/>
              <a:gd name="connsiteY0" fmla="*/ 0 h 3356987"/>
              <a:gd name="connsiteX1" fmla="*/ 4711699 w 4711699"/>
              <a:gd name="connsiteY1" fmla="*/ 0 h 3356987"/>
              <a:gd name="connsiteX2" fmla="*/ 4711699 w 4711699"/>
              <a:gd name="connsiteY2" fmla="*/ 3356987 h 3356987"/>
              <a:gd name="connsiteX3" fmla="*/ 0 w 4711699"/>
              <a:gd name="connsiteY3" fmla="*/ 3356987 h 3356987"/>
            </a:gdLst>
            <a:ahLst/>
            <a:cxnLst>
              <a:cxn ang="0">
                <a:pos x="connsiteX0" y="connsiteY0"/>
              </a:cxn>
              <a:cxn ang="0">
                <a:pos x="connsiteX1" y="connsiteY1"/>
              </a:cxn>
              <a:cxn ang="0">
                <a:pos x="connsiteX2" y="connsiteY2"/>
              </a:cxn>
              <a:cxn ang="0">
                <a:pos x="connsiteX3" y="connsiteY3"/>
              </a:cxn>
            </a:cxnLst>
            <a:rect l="l" t="t" r="r" b="b"/>
            <a:pathLst>
              <a:path w="4711699" h="3356987">
                <a:moveTo>
                  <a:pt x="0" y="0"/>
                </a:moveTo>
                <a:lnTo>
                  <a:pt x="4711699" y="0"/>
                </a:lnTo>
                <a:lnTo>
                  <a:pt x="4711699" y="3356987"/>
                </a:lnTo>
                <a:lnTo>
                  <a:pt x="0" y="3356987"/>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EUpFv2LshFBwRCcW6SH1g"/>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KAt" id="{7CB51D46-7ACE-4F03-869D-903815588280}" vid="{635F88FE-DEF2-4670-982D-DBEAD03CD0C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3068A6C218A84EB3BCF7C8CFE1E1AE" ma:contentTypeVersion="2" ma:contentTypeDescription="Create a new document." ma:contentTypeScope="" ma:versionID="81ea28bfc79a259f7d28cdaed25ea2ba">
  <xsd:schema xmlns:xsd="http://www.w3.org/2001/XMLSchema" xmlns:xs="http://www.w3.org/2001/XMLSchema" xmlns:p="http://schemas.microsoft.com/office/2006/metadata/properties" xmlns:ns2="8c85394a-6465-40d3-821b-4062e5603454" targetNamespace="http://schemas.microsoft.com/office/2006/metadata/properties" ma:root="true" ma:fieldsID="0c13559da588b8fea89d19c009ea6732" ns2:_="">
    <xsd:import namespace="8c85394a-6465-40d3-821b-4062e560345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85394a-6465-40d3-821b-4062e56034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87F834E-6001-4E92-9964-2C93D19429B9}">
  <ds:schemaRefs>
    <ds:schemaRef ds:uri="http://schemas.microsoft.com/sharepoint/v3/contenttype/forms"/>
  </ds:schemaRefs>
</ds:datastoreItem>
</file>

<file path=customXml/itemProps2.xml><?xml version="1.0" encoding="utf-8"?>
<ds:datastoreItem xmlns:ds="http://schemas.openxmlformats.org/officeDocument/2006/customXml" ds:itemID="{05F72269-6C7A-41A8-A82C-8A3421C0E658}">
  <ds:schemaRefs>
    <ds:schemaRef ds:uri="http://purl.org/dc/dcmitype/"/>
    <ds:schemaRef ds:uri="http://schemas.microsoft.com/office/infopath/2007/PartnerControls"/>
    <ds:schemaRef ds:uri="http://purl.org/dc/elements/1.1/"/>
    <ds:schemaRef ds:uri="http://schemas.microsoft.com/office/2006/metadata/properties"/>
    <ds:schemaRef ds:uri="0c1a6c9c-f016-4857-bf43-21b252e701d9"/>
    <ds:schemaRef ds:uri="http://schemas.microsoft.com/office/2006/documentManagement/types"/>
    <ds:schemaRef ds:uri="7a20bb1a-2526-436b-a0aa-406322af6dcc"/>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A2CEA9D-8757-4067-A52E-6DE32949F745}"/>
</file>

<file path=docProps/app.xml><?xml version="1.0" encoding="utf-8"?>
<Properties xmlns="http://schemas.openxmlformats.org/officeDocument/2006/extended-properties" xmlns:vt="http://schemas.openxmlformats.org/officeDocument/2006/docPropsVTypes">
  <TotalTime>746</TotalTime>
  <Words>6034</Words>
  <Application>Microsoft Office PowerPoint</Application>
  <PresentationFormat>Custom</PresentationFormat>
  <Paragraphs>352</Paragraphs>
  <Slides>32</Slides>
  <Notes>27</Notes>
  <HiddenSlides>0</HiddenSlides>
  <MMClips>0</MMClips>
  <ScaleCrop>false</ScaleCrop>
  <HeadingPairs>
    <vt:vector size="4" baseType="variant">
      <vt:variant>
        <vt:lpstr>Theme</vt:lpstr>
      </vt:variant>
      <vt:variant>
        <vt:i4>1</vt:i4>
      </vt:variant>
      <vt:variant>
        <vt:lpstr>Slide Titles</vt:lpstr>
      </vt:variant>
      <vt:variant>
        <vt:i4>32</vt:i4>
      </vt:variant>
    </vt:vector>
  </HeadingPairs>
  <TitlesOfParts>
    <vt:vector size="33" baseType="lpstr">
      <vt:lpstr>White Template</vt:lpstr>
      <vt:lpstr>Passer à la  vente numérique  avec Microsoft</vt:lpstr>
      <vt:lpstr>Le parcours client a évolué </vt:lpstr>
      <vt:lpstr>S’adapter à la nouvelle réalité </vt:lpstr>
      <vt:lpstr>1 | Guider et collaborer avec les clients à distance</vt:lpstr>
      <vt:lpstr>2 | Comprendre vos clients et renforcer les relations</vt:lpstr>
      <vt:lpstr>3 | Optimiser les processus pour réduire les coûts</vt:lpstr>
      <vt:lpstr>4 | Aider vos équipes à s’adapter à des environnements en constante évolution</vt:lpstr>
      <vt:lpstr>PowerPoint Presentation</vt:lpstr>
      <vt:lpstr>PowerPoint Presentation</vt:lpstr>
      <vt:lpstr>Passez à la vente numérique avec Dynamics 365 Sales</vt:lpstr>
      <vt:lpstr>Témoignages de cli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Relationship Sales</vt:lpstr>
      <vt:lpstr>Microsoft Relationship Sales</vt:lpstr>
      <vt:lpstr>Identifier la cible </vt:lpstr>
      <vt:lpstr>Rester en lien avec vos clients</vt:lpstr>
      <vt:lpstr>Réduire le coût des ventes</vt:lpstr>
      <vt:lpstr>Faire mieux ensemble </vt:lpstr>
      <vt:lpstr>En savoir plus sur Microsoft Relationship Sal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ynamics 365 Sales Pitch Deck</dc:title>
  <dc:creator>Rudolf Kharpuri [Chillibreeze]</dc:creator>
  <cp:lastModifiedBy>Uraitip Attachotsakda</cp:lastModifiedBy>
  <cp:revision>168</cp:revision>
  <dcterms:created xsi:type="dcterms:W3CDTF">2020-06-06T08:47:51Z</dcterms:created>
  <dcterms:modified xsi:type="dcterms:W3CDTF">2020-07-29T22:0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3068A6C218A84EB3BCF7C8CFE1E1AE</vt:lpwstr>
  </property>
</Properties>
</file>